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tags/tag10.xml" ContentType="application/vnd.openxmlformats-officedocument.presentationml.tags+xml"/>
  <Override PartName="/ppt/notesSlides/notesSlide10.xml" ContentType="application/vnd.openxmlformats-officedocument.presentationml.notesSlide+xml"/>
  <Override PartName="/ppt/tags/tag11.xml" ContentType="application/vnd.openxmlformats-officedocument.presentationml.tags+xml"/>
  <Override PartName="/ppt/notesSlides/notesSlide11.xml" ContentType="application/vnd.openxmlformats-officedocument.presentationml.notesSlide+xml"/>
  <Override PartName="/ppt/tags/tag12.xml" ContentType="application/vnd.openxmlformats-officedocument.presentationml.tags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4"/>
    <p:sldMasterId id="2147483657" r:id="rId5"/>
  </p:sldMasterIdLst>
  <p:notesMasterIdLst>
    <p:notesMasterId r:id="rId18"/>
  </p:notesMasterIdLst>
  <p:sldIdLst>
    <p:sldId id="2147327126" r:id="rId6"/>
    <p:sldId id="2147327155" r:id="rId7"/>
    <p:sldId id="2147327156" r:id="rId8"/>
    <p:sldId id="2147327157" r:id="rId9"/>
    <p:sldId id="2147327158" r:id="rId10"/>
    <p:sldId id="2147327159" r:id="rId11"/>
    <p:sldId id="2147327160" r:id="rId12"/>
    <p:sldId id="2147327161" r:id="rId13"/>
    <p:sldId id="2147327162" r:id="rId14"/>
    <p:sldId id="2147327163" r:id="rId15"/>
    <p:sldId id="2147327164" r:id="rId16"/>
    <p:sldId id="2147327153" r:id="rId17"/>
  </p:sldIdLst>
  <p:sldSz cx="9144000" cy="5143500" type="screen16x9"/>
  <p:notesSz cx="6858000" cy="9144000"/>
  <p:defaultTextStyle>
    <a:defPPr>
      <a:defRPr lang="de-DE"/>
    </a:defPPr>
    <a:lvl1pPr marL="0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892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783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675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566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457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348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240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132" algn="l" defTabSz="6857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pos="5375" userDrawn="1">
          <p15:clr>
            <a:srgbClr val="A4A3A4"/>
          </p15:clr>
        </p15:guide>
        <p15:guide id="9" pos="4400" userDrawn="1">
          <p15:clr>
            <a:srgbClr val="A4A3A4"/>
          </p15:clr>
        </p15:guide>
        <p15:guide id="11" pos="5671" userDrawn="1">
          <p15:clr>
            <a:srgbClr val="A4A3A4"/>
          </p15:clr>
        </p15:guide>
        <p15:guide id="16" pos="385" userDrawn="1">
          <p15:clr>
            <a:srgbClr val="A4A3A4"/>
          </p15:clr>
        </p15:guide>
        <p15:guide id="17" orient="horz" pos="1158" userDrawn="1">
          <p15:clr>
            <a:srgbClr val="A4A3A4"/>
          </p15:clr>
        </p15:guide>
        <p15:guide id="18" orient="horz" pos="68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6E278"/>
    <a:srgbClr val="CD9DD4"/>
    <a:srgbClr val="72AC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D0BED1E-3949-4033-B45F-26C39A4ADA10}" v="97" dt="2023-03-09T08:15:47.31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9631B5-78F2-41C9-869B-9F39066F8104}" styleName="Mittlere Formatvorlage 3 - 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36" autoAdjust="0"/>
    <p:restoredTop sz="94694"/>
  </p:normalViewPr>
  <p:slideViewPr>
    <p:cSldViewPr snapToGrid="0" snapToObjects="1">
      <p:cViewPr varScale="1">
        <p:scale>
          <a:sx n="153" d="100"/>
          <a:sy n="153" d="100"/>
        </p:scale>
        <p:origin x="192" y="888"/>
      </p:cViewPr>
      <p:guideLst>
        <p:guide pos="5375"/>
        <p:guide pos="4400"/>
        <p:guide pos="5671"/>
        <p:guide pos="385"/>
        <p:guide orient="horz" pos="1158"/>
        <p:guide orient="horz" pos="68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microsoft.com/office/2016/11/relationships/changesInfo" Target="changesInfos/changesInfo1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ebel, Dirk" userId="be71dc4c-a1ab-4d0b-926c-9e6c8d0cf5b0" providerId="ADAL" clId="{AD0BED1E-3949-4033-B45F-26C39A4ADA10}"/>
    <pc:docChg chg="custSel delSld modSld sldOrd">
      <pc:chgData name="Hebel, Dirk" userId="be71dc4c-a1ab-4d0b-926c-9e6c8d0cf5b0" providerId="ADAL" clId="{AD0BED1E-3949-4033-B45F-26C39A4ADA10}" dt="2023-03-09T08:16:02.660" v="208"/>
      <pc:docMkLst>
        <pc:docMk/>
      </pc:docMkLst>
      <pc:sldChg chg="modTransition">
        <pc:chgData name="Hebel, Dirk" userId="be71dc4c-a1ab-4d0b-926c-9e6c8d0cf5b0" providerId="ADAL" clId="{AD0BED1E-3949-4033-B45F-26C39A4ADA10}" dt="2023-03-06T16:06:28.698" v="10"/>
        <pc:sldMkLst>
          <pc:docMk/>
          <pc:sldMk cId="2844048779" sldId="536"/>
        </pc:sldMkLst>
      </pc:sldChg>
      <pc:sldChg chg="ord modTransition">
        <pc:chgData name="Hebel, Dirk" userId="be71dc4c-a1ab-4d0b-926c-9e6c8d0cf5b0" providerId="ADAL" clId="{AD0BED1E-3949-4033-B45F-26C39A4ADA10}" dt="2023-03-09T08:12:04" v="22"/>
        <pc:sldMkLst>
          <pc:docMk/>
          <pc:sldMk cId="3669023410" sldId="547"/>
        </pc:sldMkLst>
      </pc:sldChg>
      <pc:sldChg chg="modTransition">
        <pc:chgData name="Hebel, Dirk" userId="be71dc4c-a1ab-4d0b-926c-9e6c8d0cf5b0" providerId="ADAL" clId="{AD0BED1E-3949-4033-B45F-26C39A4ADA10}" dt="2023-03-06T16:06:28.698" v="10"/>
        <pc:sldMkLst>
          <pc:docMk/>
          <pc:sldMk cId="584235705" sldId="611"/>
        </pc:sldMkLst>
      </pc:sldChg>
      <pc:sldChg chg="modTransition">
        <pc:chgData name="Hebel, Dirk" userId="be71dc4c-a1ab-4d0b-926c-9e6c8d0cf5b0" providerId="ADAL" clId="{AD0BED1E-3949-4033-B45F-26C39A4ADA10}" dt="2023-03-06T16:06:28.698" v="10"/>
        <pc:sldMkLst>
          <pc:docMk/>
          <pc:sldMk cId="255658505" sldId="613"/>
        </pc:sldMkLst>
      </pc:sldChg>
      <pc:sldChg chg="addSp modSp mod modTransition">
        <pc:chgData name="Hebel, Dirk" userId="be71dc4c-a1ab-4d0b-926c-9e6c8d0cf5b0" providerId="ADAL" clId="{AD0BED1E-3949-4033-B45F-26C39A4ADA10}" dt="2023-03-09T08:16:02.660" v="208"/>
        <pc:sldMkLst>
          <pc:docMk/>
          <pc:sldMk cId="3996737273" sldId="635"/>
        </pc:sldMkLst>
        <pc:spChg chg="mod">
          <ac:chgData name="Hebel, Dirk" userId="be71dc4c-a1ab-4d0b-926c-9e6c8d0cf5b0" providerId="ADAL" clId="{AD0BED1E-3949-4033-B45F-26C39A4ADA10}" dt="2023-03-09T08:16:02.660" v="208"/>
          <ac:spMkLst>
            <pc:docMk/>
            <pc:sldMk cId="3996737273" sldId="635"/>
            <ac:spMk id="13" creationId="{2CCBBB94-6747-C64D-8625-B87CB48F217A}"/>
          </ac:spMkLst>
        </pc:spChg>
        <pc:picChg chg="add mod">
          <ac:chgData name="Hebel, Dirk" userId="be71dc4c-a1ab-4d0b-926c-9e6c8d0cf5b0" providerId="ADAL" clId="{AD0BED1E-3949-4033-B45F-26C39A4ADA10}" dt="2023-03-09T08:11:18.891" v="17" actId="14861"/>
          <ac:picMkLst>
            <pc:docMk/>
            <pc:sldMk cId="3996737273" sldId="635"/>
            <ac:picMk id="2" creationId="{8BC88487-B804-7AAE-688B-82B3754C192E}"/>
          </ac:picMkLst>
        </pc:picChg>
        <pc:picChg chg="mod">
          <ac:chgData name="Hebel, Dirk" userId="be71dc4c-a1ab-4d0b-926c-9e6c8d0cf5b0" providerId="ADAL" clId="{AD0BED1E-3949-4033-B45F-26C39A4ADA10}" dt="2023-03-09T08:11:40.444" v="19" actId="108"/>
          <ac:picMkLst>
            <pc:docMk/>
            <pc:sldMk cId="3996737273" sldId="635"/>
            <ac:picMk id="11" creationId="{C28F4FB6-904B-D341-9928-247FFBEA7056}"/>
          </ac:picMkLst>
        </pc:picChg>
        <pc:picChg chg="mod">
          <ac:chgData name="Hebel, Dirk" userId="be71dc4c-a1ab-4d0b-926c-9e6c8d0cf5b0" providerId="ADAL" clId="{AD0BED1E-3949-4033-B45F-26C39A4ADA10}" dt="2023-03-09T08:11:32.137" v="18" actId="14861"/>
          <ac:picMkLst>
            <pc:docMk/>
            <pc:sldMk cId="3996737273" sldId="635"/>
            <ac:picMk id="33" creationId="{B1B13BF5-8AC2-3F4A-BCA3-38A5F45CFC06}"/>
          </ac:picMkLst>
        </pc:picChg>
      </pc:sldChg>
      <pc:sldChg chg="modSp mod modTransition modAnim">
        <pc:chgData name="Hebel, Dirk" userId="be71dc4c-a1ab-4d0b-926c-9e6c8d0cf5b0" providerId="ADAL" clId="{AD0BED1E-3949-4033-B45F-26C39A4ADA10}" dt="2023-03-09T08:14:37.131" v="165" actId="20577"/>
        <pc:sldMkLst>
          <pc:docMk/>
          <pc:sldMk cId="2185778304" sldId="2147327001"/>
        </pc:sldMkLst>
        <pc:spChg chg="mod">
          <ac:chgData name="Hebel, Dirk" userId="be71dc4c-a1ab-4d0b-926c-9e6c8d0cf5b0" providerId="ADAL" clId="{AD0BED1E-3949-4033-B45F-26C39A4ADA10}" dt="2023-03-09T08:14:37.131" v="165" actId="20577"/>
          <ac:spMkLst>
            <pc:docMk/>
            <pc:sldMk cId="2185778304" sldId="2147327001"/>
            <ac:spMk id="5" creationId="{00000000-0000-0000-0000-000000000000}"/>
          </ac:spMkLst>
        </pc:spChg>
        <pc:picChg chg="mod">
          <ac:chgData name="Hebel, Dirk" userId="be71dc4c-a1ab-4d0b-926c-9e6c8d0cf5b0" providerId="ADAL" clId="{AD0BED1E-3949-4033-B45F-26C39A4ADA10}" dt="2023-03-09T08:12:54.847" v="76" actId="1036"/>
          <ac:picMkLst>
            <pc:docMk/>
            <pc:sldMk cId="2185778304" sldId="2147327001"/>
            <ac:picMk id="6" creationId="{8D1AFA28-833F-6843-A5CA-0255256FEE34}"/>
          </ac:picMkLst>
        </pc:picChg>
      </pc:sldChg>
      <pc:sldChg chg="addSp delSp modSp mod modTransition">
        <pc:chgData name="Hebel, Dirk" userId="be71dc4c-a1ab-4d0b-926c-9e6c8d0cf5b0" providerId="ADAL" clId="{AD0BED1E-3949-4033-B45F-26C39A4ADA10}" dt="2023-03-09T08:15:27.139" v="197" actId="20577"/>
        <pc:sldMkLst>
          <pc:docMk/>
          <pc:sldMk cId="3992090400" sldId="2147327011"/>
        </pc:sldMkLst>
        <pc:spChg chg="del">
          <ac:chgData name="Hebel, Dirk" userId="be71dc4c-a1ab-4d0b-926c-9e6c8d0cf5b0" providerId="ADAL" clId="{AD0BED1E-3949-4033-B45F-26C39A4ADA10}" dt="2023-03-09T08:15:22.990" v="193" actId="478"/>
          <ac:spMkLst>
            <pc:docMk/>
            <pc:sldMk cId="3992090400" sldId="2147327011"/>
            <ac:spMk id="5" creationId="{00000000-0000-0000-0000-000000000000}"/>
          </ac:spMkLst>
        </pc:spChg>
        <pc:spChg chg="add del mod">
          <ac:chgData name="Hebel, Dirk" userId="be71dc4c-a1ab-4d0b-926c-9e6c8d0cf5b0" providerId="ADAL" clId="{AD0BED1E-3949-4033-B45F-26C39A4ADA10}" dt="2023-03-09T08:15:24.873" v="194" actId="478"/>
          <ac:spMkLst>
            <pc:docMk/>
            <pc:sldMk cId="3992090400" sldId="2147327011"/>
            <ac:spMk id="8" creationId="{1E8B210F-9BF3-17ED-12F7-21106467A20F}"/>
          </ac:spMkLst>
        </pc:spChg>
        <pc:spChg chg="add mod">
          <ac:chgData name="Hebel, Dirk" userId="be71dc4c-a1ab-4d0b-926c-9e6c8d0cf5b0" providerId="ADAL" clId="{AD0BED1E-3949-4033-B45F-26C39A4ADA10}" dt="2023-03-09T08:15:27.139" v="197" actId="20577"/>
          <ac:spMkLst>
            <pc:docMk/>
            <pc:sldMk cId="3992090400" sldId="2147327011"/>
            <ac:spMk id="9" creationId="{6BCA2A6B-5C4D-DACC-0764-9DAE23309EB8}"/>
          </ac:spMkLst>
        </pc:spChg>
      </pc:sldChg>
      <pc:sldChg chg="modSp mod modTransition">
        <pc:chgData name="Hebel, Dirk" userId="be71dc4c-a1ab-4d0b-926c-9e6c8d0cf5b0" providerId="ADAL" clId="{AD0BED1E-3949-4033-B45F-26C39A4ADA10}" dt="2023-03-09T08:15:18.553" v="192" actId="1035"/>
        <pc:sldMkLst>
          <pc:docMk/>
          <pc:sldMk cId="4287940627" sldId="2147327012"/>
        </pc:sldMkLst>
        <pc:spChg chg="mod">
          <ac:chgData name="Hebel, Dirk" userId="be71dc4c-a1ab-4d0b-926c-9e6c8d0cf5b0" providerId="ADAL" clId="{AD0BED1E-3949-4033-B45F-26C39A4ADA10}" dt="2023-03-09T08:15:18.553" v="192" actId="1035"/>
          <ac:spMkLst>
            <pc:docMk/>
            <pc:sldMk cId="4287940627" sldId="2147327012"/>
            <ac:spMk id="5" creationId="{00000000-0000-0000-0000-000000000000}"/>
          </ac:spMkLst>
        </pc:spChg>
      </pc:sldChg>
      <pc:sldChg chg="del modTransition">
        <pc:chgData name="Hebel, Dirk" userId="be71dc4c-a1ab-4d0b-926c-9e6c8d0cf5b0" providerId="ADAL" clId="{AD0BED1E-3949-4033-B45F-26C39A4ADA10}" dt="2023-03-09T08:12:14.151" v="24" actId="47"/>
        <pc:sldMkLst>
          <pc:docMk/>
          <pc:sldMk cId="1072361869" sldId="2147327047"/>
        </pc:sldMkLst>
      </pc:sldChg>
      <pc:sldChg chg="modTransition">
        <pc:chgData name="Hebel, Dirk" userId="be71dc4c-a1ab-4d0b-926c-9e6c8d0cf5b0" providerId="ADAL" clId="{AD0BED1E-3949-4033-B45F-26C39A4ADA10}" dt="2023-03-06T16:06:28.698" v="10"/>
        <pc:sldMkLst>
          <pc:docMk/>
          <pc:sldMk cId="3052081886" sldId="2147327048"/>
        </pc:sldMkLst>
      </pc:sldChg>
      <pc:sldChg chg="modTransition">
        <pc:chgData name="Hebel, Dirk" userId="be71dc4c-a1ab-4d0b-926c-9e6c8d0cf5b0" providerId="ADAL" clId="{AD0BED1E-3949-4033-B45F-26C39A4ADA10}" dt="2023-03-06T16:06:28.698" v="10"/>
        <pc:sldMkLst>
          <pc:docMk/>
          <pc:sldMk cId="3661002907" sldId="2147327049"/>
        </pc:sldMkLst>
      </pc:sldChg>
      <pc:sldChg chg="del modTransition">
        <pc:chgData name="Hebel, Dirk" userId="be71dc4c-a1ab-4d0b-926c-9e6c8d0cf5b0" providerId="ADAL" clId="{AD0BED1E-3949-4033-B45F-26C39A4ADA10}" dt="2023-03-09T08:12:13.562" v="23" actId="47"/>
        <pc:sldMkLst>
          <pc:docMk/>
          <pc:sldMk cId="3422717109" sldId="2147327050"/>
        </pc:sldMkLst>
      </pc:sldChg>
      <pc:sldChg chg="modTransition">
        <pc:chgData name="Hebel, Dirk" userId="be71dc4c-a1ab-4d0b-926c-9e6c8d0cf5b0" providerId="ADAL" clId="{AD0BED1E-3949-4033-B45F-26C39A4ADA10}" dt="2023-03-06T16:06:28.698" v="10"/>
        <pc:sldMkLst>
          <pc:docMk/>
          <pc:sldMk cId="358177723" sldId="2147327054"/>
        </pc:sldMkLst>
      </pc:sldChg>
      <pc:sldChg chg="modTransition">
        <pc:chgData name="Hebel, Dirk" userId="be71dc4c-a1ab-4d0b-926c-9e6c8d0cf5b0" providerId="ADAL" clId="{AD0BED1E-3949-4033-B45F-26C39A4ADA10}" dt="2023-03-06T16:06:28.698" v="10"/>
        <pc:sldMkLst>
          <pc:docMk/>
          <pc:sldMk cId="3419914217" sldId="2147327073"/>
        </pc:sldMkLst>
      </pc:sldChg>
      <pc:sldChg chg="addSp modSp mod modTransition">
        <pc:chgData name="Hebel, Dirk" userId="be71dc4c-a1ab-4d0b-926c-9e6c8d0cf5b0" providerId="ADAL" clId="{AD0BED1E-3949-4033-B45F-26C39A4ADA10}" dt="2023-03-06T16:06:28.698" v="10"/>
        <pc:sldMkLst>
          <pc:docMk/>
          <pc:sldMk cId="2198619011" sldId="2147327074"/>
        </pc:sldMkLst>
        <pc:spChg chg="add mod">
          <ac:chgData name="Hebel, Dirk" userId="be71dc4c-a1ab-4d0b-926c-9e6c8d0cf5b0" providerId="ADAL" clId="{AD0BED1E-3949-4033-B45F-26C39A4ADA10}" dt="2023-03-06T15:50:47.249" v="9" actId="20577"/>
          <ac:spMkLst>
            <pc:docMk/>
            <pc:sldMk cId="2198619011" sldId="2147327074"/>
            <ac:spMk id="16" creationId="{5CFE7EB9-FA71-CAFA-7212-AADB08F57D3B}"/>
          </ac:spMkLst>
        </pc:spChg>
      </pc:sldChg>
      <pc:sldChg chg="modTransition">
        <pc:chgData name="Hebel, Dirk" userId="be71dc4c-a1ab-4d0b-926c-9e6c8d0cf5b0" providerId="ADAL" clId="{AD0BED1E-3949-4033-B45F-26C39A4ADA10}" dt="2023-03-06T16:06:28.698" v="10"/>
        <pc:sldMkLst>
          <pc:docMk/>
          <pc:sldMk cId="1895569461" sldId="2147327075"/>
        </pc:sldMkLst>
      </pc:sldChg>
      <pc:sldChg chg="del modTransition">
        <pc:chgData name="Hebel, Dirk" userId="be71dc4c-a1ab-4d0b-926c-9e6c8d0cf5b0" providerId="ADAL" clId="{AD0BED1E-3949-4033-B45F-26C39A4ADA10}" dt="2023-03-09T08:11:50.270" v="20" actId="47"/>
        <pc:sldMkLst>
          <pc:docMk/>
          <pc:sldMk cId="3030747132" sldId="2147327076"/>
        </pc:sldMkLst>
      </pc:sldChg>
      <pc:sldChg chg="addSp modSp mod modTransition">
        <pc:chgData name="Hebel, Dirk" userId="be71dc4c-a1ab-4d0b-926c-9e6c8d0cf5b0" providerId="ADAL" clId="{AD0BED1E-3949-4033-B45F-26C39A4ADA10}" dt="2023-03-09T08:15:53.935" v="205" actId="20577"/>
        <pc:sldMkLst>
          <pc:docMk/>
          <pc:sldMk cId="2752750649" sldId="2147327077"/>
        </pc:sldMkLst>
        <pc:spChg chg="add mod">
          <ac:chgData name="Hebel, Dirk" userId="be71dc4c-a1ab-4d0b-926c-9e6c8d0cf5b0" providerId="ADAL" clId="{AD0BED1E-3949-4033-B45F-26C39A4ADA10}" dt="2023-03-09T08:15:53.935" v="205" actId="20577"/>
          <ac:spMkLst>
            <pc:docMk/>
            <pc:sldMk cId="2752750649" sldId="2147327077"/>
            <ac:spMk id="5" creationId="{F0EAAAB8-0531-831B-7C97-EC28710FDDFB}"/>
          </ac:spMkLst>
        </pc:spChg>
      </pc:sldChg>
      <pc:sldChg chg="modTransition">
        <pc:chgData name="Hebel, Dirk" userId="be71dc4c-a1ab-4d0b-926c-9e6c8d0cf5b0" providerId="ADAL" clId="{AD0BED1E-3949-4033-B45F-26C39A4ADA10}" dt="2023-03-06T16:06:28.698" v="10"/>
        <pc:sldMkLst>
          <pc:docMk/>
          <pc:sldMk cId="793671156" sldId="2147327078"/>
        </pc:sldMkLst>
      </pc:sldChg>
      <pc:sldChg chg="delSp mod modTransition">
        <pc:chgData name="Hebel, Dirk" userId="be71dc4c-a1ab-4d0b-926c-9e6c8d0cf5b0" providerId="ADAL" clId="{AD0BED1E-3949-4033-B45F-26C39A4ADA10}" dt="2023-03-06T16:06:28.698" v="10"/>
        <pc:sldMkLst>
          <pc:docMk/>
          <pc:sldMk cId="1921530647" sldId="2147327079"/>
        </pc:sldMkLst>
        <pc:spChg chg="del">
          <ac:chgData name="Hebel, Dirk" userId="be71dc4c-a1ab-4d0b-926c-9e6c8d0cf5b0" providerId="ADAL" clId="{AD0BED1E-3949-4033-B45F-26C39A4ADA10}" dt="2023-03-06T15:37:56.347" v="0" actId="478"/>
          <ac:spMkLst>
            <pc:docMk/>
            <pc:sldMk cId="1921530647" sldId="2147327079"/>
            <ac:spMk id="4" creationId="{37F36A73-9953-40D4-EB5D-C74328CAE51D}"/>
          </ac:spMkLst>
        </pc:spChg>
      </pc:sldChg>
    </pc:docChg>
  </pc:docChgLst>
  <pc:docChgLst>
    <pc:chgData name="Hebel, Dirk" userId="be71dc4c-a1ab-4d0b-926c-9e6c8d0cf5b0" providerId="ADAL" clId="{7C525FD4-0803-4512-A428-64732F6C0BD2}"/>
    <pc:docChg chg="undo custSel addSld delSld modSld sldOrd modMainMaster">
      <pc:chgData name="Hebel, Dirk" userId="be71dc4c-a1ab-4d0b-926c-9e6c8d0cf5b0" providerId="ADAL" clId="{7C525FD4-0803-4512-A428-64732F6C0BD2}" dt="2023-03-06T15:28:10.395" v="1348" actId="5793"/>
      <pc:docMkLst>
        <pc:docMk/>
      </pc:docMkLst>
      <pc:sldChg chg="delSp modSp del mod">
        <pc:chgData name="Hebel, Dirk" userId="be71dc4c-a1ab-4d0b-926c-9e6c8d0cf5b0" providerId="ADAL" clId="{7C525FD4-0803-4512-A428-64732F6C0BD2}" dt="2023-03-06T15:20:19.461" v="1192" actId="47"/>
        <pc:sldMkLst>
          <pc:docMk/>
          <pc:sldMk cId="2985036701" sldId="269"/>
        </pc:sldMkLst>
        <pc:spChg chg="mod">
          <ac:chgData name="Hebel, Dirk" userId="be71dc4c-a1ab-4d0b-926c-9e6c8d0cf5b0" providerId="ADAL" clId="{7C525FD4-0803-4512-A428-64732F6C0BD2}" dt="2023-03-06T14:29:31.550" v="141" actId="20577"/>
          <ac:spMkLst>
            <pc:docMk/>
            <pc:sldMk cId="2985036701" sldId="269"/>
            <ac:spMk id="2" creationId="{2EAA8641-5EB8-5C4F-B4FB-3793B41A3C21}"/>
          </ac:spMkLst>
        </pc:spChg>
        <pc:spChg chg="mod">
          <ac:chgData name="Hebel, Dirk" userId="be71dc4c-a1ab-4d0b-926c-9e6c8d0cf5b0" providerId="ADAL" clId="{7C525FD4-0803-4512-A428-64732F6C0BD2}" dt="2023-03-06T14:29:42.511" v="168" actId="20577"/>
          <ac:spMkLst>
            <pc:docMk/>
            <pc:sldMk cId="2985036701" sldId="269"/>
            <ac:spMk id="6" creationId="{FA675EAB-D24B-654F-8613-09400F4074D7}"/>
          </ac:spMkLst>
        </pc:spChg>
        <pc:spChg chg="mod">
          <ac:chgData name="Hebel, Dirk" userId="be71dc4c-a1ab-4d0b-926c-9e6c8d0cf5b0" providerId="ADAL" clId="{7C525FD4-0803-4512-A428-64732F6C0BD2}" dt="2023-03-06T14:29:07.331" v="91" actId="21"/>
          <ac:spMkLst>
            <pc:docMk/>
            <pc:sldMk cId="2985036701" sldId="269"/>
            <ac:spMk id="7" creationId="{A04C0622-A25E-5A40-8DD8-8ECF02C628D4}"/>
          </ac:spMkLst>
        </pc:spChg>
        <pc:spChg chg="mod">
          <ac:chgData name="Hebel, Dirk" userId="be71dc4c-a1ab-4d0b-926c-9e6c8d0cf5b0" providerId="ADAL" clId="{7C525FD4-0803-4512-A428-64732F6C0BD2}" dt="2023-03-06T14:29:36.324" v="143" actId="20577"/>
          <ac:spMkLst>
            <pc:docMk/>
            <pc:sldMk cId="2985036701" sldId="269"/>
            <ac:spMk id="8" creationId="{45CF06D1-47F1-C24F-B2CC-2F25FFBD2140}"/>
          </ac:spMkLst>
        </pc:spChg>
        <pc:picChg chg="del">
          <ac:chgData name="Hebel, Dirk" userId="be71dc4c-a1ab-4d0b-926c-9e6c8d0cf5b0" providerId="ADAL" clId="{7C525FD4-0803-4512-A428-64732F6C0BD2}" dt="2023-03-06T14:33:44.920" v="205" actId="478"/>
          <ac:picMkLst>
            <pc:docMk/>
            <pc:sldMk cId="2985036701" sldId="269"/>
            <ac:picMk id="4" creationId="{1D02D40E-058F-25D6-5B72-4D94359ECE01}"/>
          </ac:picMkLst>
        </pc:picChg>
      </pc:sldChg>
      <pc:sldChg chg="del">
        <pc:chgData name="Hebel, Dirk" userId="be71dc4c-a1ab-4d0b-926c-9e6c8d0cf5b0" providerId="ADAL" clId="{7C525FD4-0803-4512-A428-64732F6C0BD2}" dt="2023-03-06T14:35:32.085" v="207" actId="47"/>
        <pc:sldMkLst>
          <pc:docMk/>
          <pc:sldMk cId="2591649713" sldId="276"/>
        </pc:sldMkLst>
      </pc:sldChg>
      <pc:sldChg chg="delSp del mod">
        <pc:chgData name="Hebel, Dirk" userId="be71dc4c-a1ab-4d0b-926c-9e6c8d0cf5b0" providerId="ADAL" clId="{7C525FD4-0803-4512-A428-64732F6C0BD2}" dt="2023-03-06T14:56:14.110" v="559" actId="47"/>
        <pc:sldMkLst>
          <pc:docMk/>
          <pc:sldMk cId="1543191030" sldId="279"/>
        </pc:sldMkLst>
        <pc:spChg chg="del">
          <ac:chgData name="Hebel, Dirk" userId="be71dc4c-a1ab-4d0b-926c-9e6c8d0cf5b0" providerId="ADAL" clId="{7C525FD4-0803-4512-A428-64732F6C0BD2}" dt="2023-03-06T14:38:05.156" v="216" actId="478"/>
          <ac:spMkLst>
            <pc:docMk/>
            <pc:sldMk cId="1543191030" sldId="279"/>
            <ac:spMk id="2" creationId="{4CFFE2D7-E107-9144-9922-AC5FBCBC6AA3}"/>
          </ac:spMkLst>
        </pc:spChg>
        <pc:spChg chg="del">
          <ac:chgData name="Hebel, Dirk" userId="be71dc4c-a1ab-4d0b-926c-9e6c8d0cf5b0" providerId="ADAL" clId="{7C525FD4-0803-4512-A428-64732F6C0BD2}" dt="2023-03-06T14:38:05.156" v="216" actId="478"/>
          <ac:spMkLst>
            <pc:docMk/>
            <pc:sldMk cId="1543191030" sldId="279"/>
            <ac:spMk id="3" creationId="{98D98323-6253-514D-A50E-A4CA911C612C}"/>
          </ac:spMkLst>
        </pc:spChg>
        <pc:picChg chg="del">
          <ac:chgData name="Hebel, Dirk" userId="be71dc4c-a1ab-4d0b-926c-9e6c8d0cf5b0" providerId="ADAL" clId="{7C525FD4-0803-4512-A428-64732F6C0BD2}" dt="2023-03-06T14:33:43.578" v="204" actId="478"/>
          <ac:picMkLst>
            <pc:docMk/>
            <pc:sldMk cId="1543191030" sldId="279"/>
            <ac:picMk id="7" creationId="{91A96B44-40CF-A2A2-ED9C-EF33FE587F32}"/>
          </ac:picMkLst>
        </pc:picChg>
      </pc:sldChg>
      <pc:sldChg chg="del">
        <pc:chgData name="Hebel, Dirk" userId="be71dc4c-a1ab-4d0b-926c-9e6c8d0cf5b0" providerId="ADAL" clId="{7C525FD4-0803-4512-A428-64732F6C0BD2}" dt="2023-03-06T14:35:39.688" v="211" actId="47"/>
        <pc:sldMkLst>
          <pc:docMk/>
          <pc:sldMk cId="2654656944" sldId="280"/>
        </pc:sldMkLst>
      </pc:sldChg>
      <pc:sldChg chg="del">
        <pc:chgData name="Hebel, Dirk" userId="be71dc4c-a1ab-4d0b-926c-9e6c8d0cf5b0" providerId="ADAL" clId="{7C525FD4-0803-4512-A428-64732F6C0BD2}" dt="2023-03-06T14:35:32.085" v="207" actId="47"/>
        <pc:sldMkLst>
          <pc:docMk/>
          <pc:sldMk cId="3006427174" sldId="281"/>
        </pc:sldMkLst>
      </pc:sldChg>
      <pc:sldChg chg="del">
        <pc:chgData name="Hebel, Dirk" userId="be71dc4c-a1ab-4d0b-926c-9e6c8d0cf5b0" providerId="ADAL" clId="{7C525FD4-0803-4512-A428-64732F6C0BD2}" dt="2023-03-06T14:35:32.085" v="207" actId="47"/>
        <pc:sldMkLst>
          <pc:docMk/>
          <pc:sldMk cId="3595588551" sldId="282"/>
        </pc:sldMkLst>
      </pc:sldChg>
      <pc:sldChg chg="del">
        <pc:chgData name="Hebel, Dirk" userId="be71dc4c-a1ab-4d0b-926c-9e6c8d0cf5b0" providerId="ADAL" clId="{7C525FD4-0803-4512-A428-64732F6C0BD2}" dt="2023-03-06T14:35:32.085" v="207" actId="47"/>
        <pc:sldMkLst>
          <pc:docMk/>
          <pc:sldMk cId="134988655" sldId="283"/>
        </pc:sldMkLst>
      </pc:sldChg>
      <pc:sldChg chg="del">
        <pc:chgData name="Hebel, Dirk" userId="be71dc4c-a1ab-4d0b-926c-9e6c8d0cf5b0" providerId="ADAL" clId="{7C525FD4-0803-4512-A428-64732F6C0BD2}" dt="2023-03-06T14:35:35.008" v="208" actId="47"/>
        <pc:sldMkLst>
          <pc:docMk/>
          <pc:sldMk cId="1909655624" sldId="284"/>
        </pc:sldMkLst>
      </pc:sldChg>
      <pc:sldChg chg="del">
        <pc:chgData name="Hebel, Dirk" userId="be71dc4c-a1ab-4d0b-926c-9e6c8d0cf5b0" providerId="ADAL" clId="{7C525FD4-0803-4512-A428-64732F6C0BD2}" dt="2023-03-06T14:35:36.435" v="209" actId="47"/>
        <pc:sldMkLst>
          <pc:docMk/>
          <pc:sldMk cId="545482023" sldId="286"/>
        </pc:sldMkLst>
      </pc:sldChg>
      <pc:sldChg chg="del">
        <pc:chgData name="Hebel, Dirk" userId="be71dc4c-a1ab-4d0b-926c-9e6c8d0cf5b0" providerId="ADAL" clId="{7C525FD4-0803-4512-A428-64732F6C0BD2}" dt="2023-03-06T14:35:39.052" v="210" actId="47"/>
        <pc:sldMkLst>
          <pc:docMk/>
          <pc:sldMk cId="1725320845" sldId="287"/>
        </pc:sldMkLst>
      </pc:sldChg>
      <pc:sldChg chg="del">
        <pc:chgData name="Hebel, Dirk" userId="be71dc4c-a1ab-4d0b-926c-9e6c8d0cf5b0" providerId="ADAL" clId="{7C525FD4-0803-4512-A428-64732F6C0BD2}" dt="2023-03-06T14:35:32.085" v="207" actId="47"/>
        <pc:sldMkLst>
          <pc:docMk/>
          <pc:sldMk cId="3200385466" sldId="288"/>
        </pc:sldMkLst>
      </pc:sldChg>
      <pc:sldChg chg="add">
        <pc:chgData name="Hebel, Dirk" userId="be71dc4c-a1ab-4d0b-926c-9e6c8d0cf5b0" providerId="ADAL" clId="{7C525FD4-0803-4512-A428-64732F6C0BD2}" dt="2023-03-06T14:30:42.970" v="169"/>
        <pc:sldMkLst>
          <pc:docMk/>
          <pc:sldMk cId="2844048779" sldId="536"/>
        </pc:sldMkLst>
      </pc:sldChg>
      <pc:sldChg chg="addSp delSp modSp add mod">
        <pc:chgData name="Hebel, Dirk" userId="be71dc4c-a1ab-4d0b-926c-9e6c8d0cf5b0" providerId="ADAL" clId="{7C525FD4-0803-4512-A428-64732F6C0BD2}" dt="2023-03-06T14:55:24.834" v="552" actId="1076"/>
        <pc:sldMkLst>
          <pc:docMk/>
          <pc:sldMk cId="3669023410" sldId="547"/>
        </pc:sldMkLst>
        <pc:spChg chg="add del mod">
          <ac:chgData name="Hebel, Dirk" userId="be71dc4c-a1ab-4d0b-926c-9e6c8d0cf5b0" providerId="ADAL" clId="{7C525FD4-0803-4512-A428-64732F6C0BD2}" dt="2023-03-06T14:48:26.008" v="412"/>
          <ac:spMkLst>
            <pc:docMk/>
            <pc:sldMk cId="3669023410" sldId="547"/>
            <ac:spMk id="2" creationId="{BC88A635-415B-02E3-47C9-570D8B6DF980}"/>
          </ac:spMkLst>
        </pc:spChg>
        <pc:spChg chg="add del mod">
          <ac:chgData name="Hebel, Dirk" userId="be71dc4c-a1ab-4d0b-926c-9e6c8d0cf5b0" providerId="ADAL" clId="{7C525FD4-0803-4512-A428-64732F6C0BD2}" dt="2023-03-06T14:48:36.533" v="414" actId="478"/>
          <ac:spMkLst>
            <pc:docMk/>
            <pc:sldMk cId="3669023410" sldId="547"/>
            <ac:spMk id="3" creationId="{571076EF-0AA0-C9B2-F621-2CDD77F0DEA7}"/>
          </ac:spMkLst>
        </pc:spChg>
        <pc:spChg chg="mod">
          <ac:chgData name="Hebel, Dirk" userId="be71dc4c-a1ab-4d0b-926c-9e6c8d0cf5b0" providerId="ADAL" clId="{7C525FD4-0803-4512-A428-64732F6C0BD2}" dt="2023-03-06T14:48:32.472" v="413" actId="6549"/>
          <ac:spMkLst>
            <pc:docMk/>
            <pc:sldMk cId="3669023410" sldId="547"/>
            <ac:spMk id="5" creationId="{00000000-0000-0000-0000-000000000000}"/>
          </ac:spMkLst>
        </pc:spChg>
        <pc:spChg chg="mod">
          <ac:chgData name="Hebel, Dirk" userId="be71dc4c-a1ab-4d0b-926c-9e6c8d0cf5b0" providerId="ADAL" clId="{7C525FD4-0803-4512-A428-64732F6C0BD2}" dt="2023-03-06T14:55:16.028" v="550"/>
          <ac:spMkLst>
            <pc:docMk/>
            <pc:sldMk cId="3669023410" sldId="547"/>
            <ac:spMk id="6" creationId="{5C98DBF0-385A-F1C5-9616-96F6B84D1F46}"/>
          </ac:spMkLst>
        </pc:spChg>
        <pc:spChg chg="mod">
          <ac:chgData name="Hebel, Dirk" userId="be71dc4c-a1ab-4d0b-926c-9e6c8d0cf5b0" providerId="ADAL" clId="{7C525FD4-0803-4512-A428-64732F6C0BD2}" dt="2023-03-06T14:55:16.028" v="550"/>
          <ac:spMkLst>
            <pc:docMk/>
            <pc:sldMk cId="3669023410" sldId="547"/>
            <ac:spMk id="7" creationId="{7D113DF3-6671-9C44-BC7B-FFEC65A14A8E}"/>
          </ac:spMkLst>
        </pc:spChg>
        <pc:spChg chg="mod">
          <ac:chgData name="Hebel, Dirk" userId="be71dc4c-a1ab-4d0b-926c-9e6c8d0cf5b0" providerId="ADAL" clId="{7C525FD4-0803-4512-A428-64732F6C0BD2}" dt="2023-03-06T14:55:16.028" v="550"/>
          <ac:spMkLst>
            <pc:docMk/>
            <pc:sldMk cId="3669023410" sldId="547"/>
            <ac:spMk id="8" creationId="{38B2F52F-DFD8-F660-0E4B-199A5F8F4710}"/>
          </ac:spMkLst>
        </pc:spChg>
        <pc:spChg chg="mod">
          <ac:chgData name="Hebel, Dirk" userId="be71dc4c-a1ab-4d0b-926c-9e6c8d0cf5b0" providerId="ADAL" clId="{7C525FD4-0803-4512-A428-64732F6C0BD2}" dt="2023-03-06T14:55:16.028" v="550"/>
          <ac:spMkLst>
            <pc:docMk/>
            <pc:sldMk cId="3669023410" sldId="547"/>
            <ac:spMk id="9" creationId="{30C6BFC9-6624-AFC2-F46A-333DE1933761}"/>
          </ac:spMkLst>
        </pc:spChg>
        <pc:spChg chg="add mod">
          <ac:chgData name="Hebel, Dirk" userId="be71dc4c-a1ab-4d0b-926c-9e6c8d0cf5b0" providerId="ADAL" clId="{7C525FD4-0803-4512-A428-64732F6C0BD2}" dt="2023-03-06T14:55:24.834" v="552" actId="1076"/>
          <ac:spMkLst>
            <pc:docMk/>
            <pc:sldMk cId="3669023410" sldId="547"/>
            <ac:spMk id="10" creationId="{44E10EFB-2792-4ACD-7009-45001231CB6A}"/>
          </ac:spMkLst>
        </pc:spChg>
        <pc:spChg chg="del">
          <ac:chgData name="Hebel, Dirk" userId="be71dc4c-a1ab-4d0b-926c-9e6c8d0cf5b0" providerId="ADAL" clId="{7C525FD4-0803-4512-A428-64732F6C0BD2}" dt="2023-03-06T14:48:40.938" v="416" actId="478"/>
          <ac:spMkLst>
            <pc:docMk/>
            <pc:sldMk cId="3669023410" sldId="547"/>
            <ac:spMk id="13" creationId="{2CCBBB94-6747-C64D-8625-B87CB48F217A}"/>
          </ac:spMkLst>
        </pc:spChg>
        <pc:spChg chg="del">
          <ac:chgData name="Hebel, Dirk" userId="be71dc4c-a1ab-4d0b-926c-9e6c8d0cf5b0" providerId="ADAL" clId="{7C525FD4-0803-4512-A428-64732F6C0BD2}" dt="2023-03-06T14:48:37.223" v="415" actId="478"/>
          <ac:spMkLst>
            <pc:docMk/>
            <pc:sldMk cId="3669023410" sldId="547"/>
            <ac:spMk id="64" creationId="{03504CD0-A3C5-7340-B418-767F1075AA00}"/>
          </ac:spMkLst>
        </pc:spChg>
        <pc:spChg chg="del">
          <ac:chgData name="Hebel, Dirk" userId="be71dc4c-a1ab-4d0b-926c-9e6c8d0cf5b0" providerId="ADAL" clId="{7C525FD4-0803-4512-A428-64732F6C0BD2}" dt="2023-03-06T14:50:49.193" v="525" actId="21"/>
          <ac:spMkLst>
            <pc:docMk/>
            <pc:sldMk cId="3669023410" sldId="547"/>
            <ac:spMk id="76" creationId="{E7F53F94-614C-004A-AAAF-1E2D0985D026}"/>
          </ac:spMkLst>
        </pc:spChg>
        <pc:grpChg chg="add mod">
          <ac:chgData name="Hebel, Dirk" userId="be71dc4c-a1ab-4d0b-926c-9e6c8d0cf5b0" providerId="ADAL" clId="{7C525FD4-0803-4512-A428-64732F6C0BD2}" dt="2023-03-06T14:55:20.257" v="551" actId="1076"/>
          <ac:grpSpMkLst>
            <pc:docMk/>
            <pc:sldMk cId="3669023410" sldId="547"/>
            <ac:grpSpMk id="4" creationId="{61D6FD9C-58F9-AFC6-A3AC-BAB29900FD56}"/>
          </ac:grpSpMkLst>
        </pc:grpChg>
        <pc:grpChg chg="del">
          <ac:chgData name="Hebel, Dirk" userId="be71dc4c-a1ab-4d0b-926c-9e6c8d0cf5b0" providerId="ADAL" clId="{7C525FD4-0803-4512-A428-64732F6C0BD2}" dt="2023-03-06T14:50:49.193" v="525" actId="21"/>
          <ac:grpSpMkLst>
            <pc:docMk/>
            <pc:sldMk cId="3669023410" sldId="547"/>
            <ac:grpSpMk id="12" creationId="{F2F8A305-9764-C948-83AE-FF8788D2343A}"/>
          </ac:grpSpMkLst>
        </pc:grpChg>
      </pc:sldChg>
      <pc:sldChg chg="addSp delSp modSp add mod">
        <pc:chgData name="Hebel, Dirk" userId="be71dc4c-a1ab-4d0b-926c-9e6c8d0cf5b0" providerId="ADAL" clId="{7C525FD4-0803-4512-A428-64732F6C0BD2}" dt="2023-03-06T15:14:05.604" v="783"/>
        <pc:sldMkLst>
          <pc:docMk/>
          <pc:sldMk cId="584235705" sldId="611"/>
        </pc:sldMkLst>
        <pc:spChg chg="add del mod">
          <ac:chgData name="Hebel, Dirk" userId="be71dc4c-a1ab-4d0b-926c-9e6c8d0cf5b0" providerId="ADAL" clId="{7C525FD4-0803-4512-A428-64732F6C0BD2}" dt="2023-03-06T15:10:23.633" v="714"/>
          <ac:spMkLst>
            <pc:docMk/>
            <pc:sldMk cId="584235705" sldId="611"/>
            <ac:spMk id="2" creationId="{6F2C19BC-25A4-A0C3-24B2-FCE84BD548D2}"/>
          </ac:spMkLst>
        </pc:spChg>
        <pc:spChg chg="add del mod">
          <ac:chgData name="Hebel, Dirk" userId="be71dc4c-a1ab-4d0b-926c-9e6c8d0cf5b0" providerId="ADAL" clId="{7C525FD4-0803-4512-A428-64732F6C0BD2}" dt="2023-03-06T15:10:27.161" v="715" actId="478"/>
          <ac:spMkLst>
            <pc:docMk/>
            <pc:sldMk cId="584235705" sldId="611"/>
            <ac:spMk id="3" creationId="{08CE1672-FEF9-EA9A-33A5-4A8FB989214E}"/>
          </ac:spMkLst>
        </pc:spChg>
        <pc:spChg chg="mod">
          <ac:chgData name="Hebel, Dirk" userId="be71dc4c-a1ab-4d0b-926c-9e6c8d0cf5b0" providerId="ADAL" clId="{7C525FD4-0803-4512-A428-64732F6C0BD2}" dt="2023-03-06T15:10:56.157" v="747" actId="14100"/>
          <ac:spMkLst>
            <pc:docMk/>
            <pc:sldMk cId="584235705" sldId="611"/>
            <ac:spMk id="4" creationId="{00000000-0000-0000-0000-000000000000}"/>
          </ac:spMkLst>
        </pc:spChg>
        <pc:spChg chg="add mod">
          <ac:chgData name="Hebel, Dirk" userId="be71dc4c-a1ab-4d0b-926c-9e6c8d0cf5b0" providerId="ADAL" clId="{7C525FD4-0803-4512-A428-64732F6C0BD2}" dt="2023-03-06T15:14:05.604" v="783"/>
          <ac:spMkLst>
            <pc:docMk/>
            <pc:sldMk cId="584235705" sldId="611"/>
            <ac:spMk id="5" creationId="{FAD14E43-9085-16F1-2E97-03935DF73BA1}"/>
          </ac:spMkLst>
        </pc:spChg>
        <pc:spChg chg="mod">
          <ac:chgData name="Hebel, Dirk" userId="be71dc4c-a1ab-4d0b-926c-9e6c8d0cf5b0" providerId="ADAL" clId="{7C525FD4-0803-4512-A428-64732F6C0BD2}" dt="2023-03-06T15:13:20.292" v="778" actId="255"/>
          <ac:spMkLst>
            <pc:docMk/>
            <pc:sldMk cId="584235705" sldId="611"/>
            <ac:spMk id="10" creationId="{D6875A27-D82D-D945-801D-40E734D7024F}"/>
          </ac:spMkLst>
        </pc:spChg>
        <pc:spChg chg="mod">
          <ac:chgData name="Hebel, Dirk" userId="be71dc4c-a1ab-4d0b-926c-9e6c8d0cf5b0" providerId="ADAL" clId="{7C525FD4-0803-4512-A428-64732F6C0BD2}" dt="2023-03-06T15:13:20.292" v="778" actId="255"/>
          <ac:spMkLst>
            <pc:docMk/>
            <pc:sldMk cId="584235705" sldId="611"/>
            <ac:spMk id="11" creationId="{EB36101A-8E11-F14E-9E16-BCB84018085F}"/>
          </ac:spMkLst>
        </pc:spChg>
        <pc:spChg chg="mod">
          <ac:chgData name="Hebel, Dirk" userId="be71dc4c-a1ab-4d0b-926c-9e6c8d0cf5b0" providerId="ADAL" clId="{7C525FD4-0803-4512-A428-64732F6C0BD2}" dt="2023-03-06T15:13:20.292" v="778" actId="255"/>
          <ac:spMkLst>
            <pc:docMk/>
            <pc:sldMk cId="584235705" sldId="611"/>
            <ac:spMk id="12" creationId="{DAAF8B12-C03F-FE47-9717-FFF150B7814B}"/>
          </ac:spMkLst>
        </pc:spChg>
        <pc:spChg chg="mod">
          <ac:chgData name="Hebel, Dirk" userId="be71dc4c-a1ab-4d0b-926c-9e6c8d0cf5b0" providerId="ADAL" clId="{7C525FD4-0803-4512-A428-64732F6C0BD2}" dt="2023-03-06T15:13:46.601" v="781" actId="255"/>
          <ac:spMkLst>
            <pc:docMk/>
            <pc:sldMk cId="584235705" sldId="611"/>
            <ac:spMk id="14" creationId="{79124BC2-860A-B84F-98F4-6F8EB7978C8F}"/>
          </ac:spMkLst>
        </pc:spChg>
        <pc:spChg chg="mod">
          <ac:chgData name="Hebel, Dirk" userId="be71dc4c-a1ab-4d0b-926c-9e6c8d0cf5b0" providerId="ADAL" clId="{7C525FD4-0803-4512-A428-64732F6C0BD2}" dt="2023-03-06T15:13:20.292" v="778" actId="255"/>
          <ac:spMkLst>
            <pc:docMk/>
            <pc:sldMk cId="584235705" sldId="611"/>
            <ac:spMk id="16" creationId="{0E004ACE-1C84-A644-96F5-ED02D3456C90}"/>
          </ac:spMkLst>
        </pc:spChg>
        <pc:spChg chg="mod">
          <ac:chgData name="Hebel, Dirk" userId="be71dc4c-a1ab-4d0b-926c-9e6c8d0cf5b0" providerId="ADAL" clId="{7C525FD4-0803-4512-A428-64732F6C0BD2}" dt="2023-03-06T15:13:20.292" v="778" actId="255"/>
          <ac:spMkLst>
            <pc:docMk/>
            <pc:sldMk cId="584235705" sldId="611"/>
            <ac:spMk id="18" creationId="{401C5EB5-DEA6-524C-94F9-F1CC1C0FDF8A}"/>
          </ac:spMkLst>
        </pc:spChg>
        <pc:spChg chg="mod">
          <ac:chgData name="Hebel, Dirk" userId="be71dc4c-a1ab-4d0b-926c-9e6c8d0cf5b0" providerId="ADAL" clId="{7C525FD4-0803-4512-A428-64732F6C0BD2}" dt="2023-03-06T15:13:20.292" v="778" actId="255"/>
          <ac:spMkLst>
            <pc:docMk/>
            <pc:sldMk cId="584235705" sldId="611"/>
            <ac:spMk id="19" creationId="{C2B1D1F1-9A85-DB46-A2AE-1098AAA2AF6B}"/>
          </ac:spMkLst>
        </pc:spChg>
        <pc:spChg chg="mod">
          <ac:chgData name="Hebel, Dirk" userId="be71dc4c-a1ab-4d0b-926c-9e6c8d0cf5b0" providerId="ADAL" clId="{7C525FD4-0803-4512-A428-64732F6C0BD2}" dt="2023-03-06T15:13:46.601" v="781" actId="255"/>
          <ac:spMkLst>
            <pc:docMk/>
            <pc:sldMk cId="584235705" sldId="611"/>
            <ac:spMk id="20" creationId="{A195008C-9BB1-004F-8852-94929A80759A}"/>
          </ac:spMkLst>
        </pc:spChg>
        <pc:spChg chg="mod">
          <ac:chgData name="Hebel, Dirk" userId="be71dc4c-a1ab-4d0b-926c-9e6c8d0cf5b0" providerId="ADAL" clId="{7C525FD4-0803-4512-A428-64732F6C0BD2}" dt="2023-03-06T15:13:46.601" v="781" actId="255"/>
          <ac:spMkLst>
            <pc:docMk/>
            <pc:sldMk cId="584235705" sldId="611"/>
            <ac:spMk id="21" creationId="{ED207231-5FD1-264E-A8E5-56757EC28C2B}"/>
          </ac:spMkLst>
        </pc:spChg>
        <pc:spChg chg="mod">
          <ac:chgData name="Hebel, Dirk" userId="be71dc4c-a1ab-4d0b-926c-9e6c8d0cf5b0" providerId="ADAL" clId="{7C525FD4-0803-4512-A428-64732F6C0BD2}" dt="2023-03-06T15:13:46.601" v="781" actId="255"/>
          <ac:spMkLst>
            <pc:docMk/>
            <pc:sldMk cId="584235705" sldId="611"/>
            <ac:spMk id="22" creationId="{3C39A54B-EB3F-D546-B725-810BF3E7E7CE}"/>
          </ac:spMkLst>
        </pc:spChg>
        <pc:spChg chg="mod">
          <ac:chgData name="Hebel, Dirk" userId="be71dc4c-a1ab-4d0b-926c-9e6c8d0cf5b0" providerId="ADAL" clId="{7C525FD4-0803-4512-A428-64732F6C0BD2}" dt="2023-03-06T15:13:20.292" v="778" actId="255"/>
          <ac:spMkLst>
            <pc:docMk/>
            <pc:sldMk cId="584235705" sldId="611"/>
            <ac:spMk id="23" creationId="{6C217929-B4CD-0A43-A9D7-621E76C8A896}"/>
          </ac:spMkLst>
        </pc:spChg>
        <pc:spChg chg="mod">
          <ac:chgData name="Hebel, Dirk" userId="be71dc4c-a1ab-4d0b-926c-9e6c8d0cf5b0" providerId="ADAL" clId="{7C525FD4-0803-4512-A428-64732F6C0BD2}" dt="2023-03-06T15:13:20.292" v="778" actId="255"/>
          <ac:spMkLst>
            <pc:docMk/>
            <pc:sldMk cId="584235705" sldId="611"/>
            <ac:spMk id="24" creationId="{D8DC6783-1C04-3C4E-856A-15BCBE9636D1}"/>
          </ac:spMkLst>
        </pc:spChg>
        <pc:spChg chg="mod">
          <ac:chgData name="Hebel, Dirk" userId="be71dc4c-a1ab-4d0b-926c-9e6c8d0cf5b0" providerId="ADAL" clId="{7C525FD4-0803-4512-A428-64732F6C0BD2}" dt="2023-03-06T15:13:20.292" v="778" actId="255"/>
          <ac:spMkLst>
            <pc:docMk/>
            <pc:sldMk cId="584235705" sldId="611"/>
            <ac:spMk id="26" creationId="{5FDCA6C1-CFCD-A549-BBD2-DDB7516CA15B}"/>
          </ac:spMkLst>
        </pc:spChg>
        <pc:spChg chg="mod">
          <ac:chgData name="Hebel, Dirk" userId="be71dc4c-a1ab-4d0b-926c-9e6c8d0cf5b0" providerId="ADAL" clId="{7C525FD4-0803-4512-A428-64732F6C0BD2}" dt="2023-03-06T15:13:20.292" v="778" actId="255"/>
          <ac:spMkLst>
            <pc:docMk/>
            <pc:sldMk cId="584235705" sldId="611"/>
            <ac:spMk id="29" creationId="{02BC1384-2B56-DC4F-BE8C-49033E3F02F2}"/>
          </ac:spMkLst>
        </pc:spChg>
      </pc:sldChg>
      <pc:sldChg chg="addSp delSp modSp add mod">
        <pc:chgData name="Hebel, Dirk" userId="be71dc4c-a1ab-4d0b-926c-9e6c8d0cf5b0" providerId="ADAL" clId="{7C525FD4-0803-4512-A428-64732F6C0BD2}" dt="2023-03-06T15:13:52.205" v="782" actId="255"/>
        <pc:sldMkLst>
          <pc:docMk/>
          <pc:sldMk cId="255658505" sldId="613"/>
        </pc:sldMkLst>
        <pc:spChg chg="del mod">
          <ac:chgData name="Hebel, Dirk" userId="be71dc4c-a1ab-4d0b-926c-9e6c8d0cf5b0" providerId="ADAL" clId="{7C525FD4-0803-4512-A428-64732F6C0BD2}" dt="2023-03-06T15:11:02.877" v="748" actId="478"/>
          <ac:spMkLst>
            <pc:docMk/>
            <pc:sldMk cId="255658505" sldId="613"/>
            <ac:spMk id="4" creationId="{00000000-0000-0000-0000-000000000000}"/>
          </ac:spMkLst>
        </pc:spChg>
        <pc:spChg chg="add del mod">
          <ac:chgData name="Hebel, Dirk" userId="be71dc4c-a1ab-4d0b-926c-9e6c8d0cf5b0" providerId="ADAL" clId="{7C525FD4-0803-4512-A428-64732F6C0BD2}" dt="2023-03-06T15:11:03.733" v="749" actId="478"/>
          <ac:spMkLst>
            <pc:docMk/>
            <pc:sldMk cId="255658505" sldId="613"/>
            <ac:spMk id="5" creationId="{62F98864-5FB3-A61F-2C44-1DDF0CBFC916}"/>
          </ac:spMkLst>
        </pc:spChg>
        <pc:spChg chg="add mod">
          <ac:chgData name="Hebel, Dirk" userId="be71dc4c-a1ab-4d0b-926c-9e6c8d0cf5b0" providerId="ADAL" clId="{7C525FD4-0803-4512-A428-64732F6C0BD2}" dt="2023-03-06T15:11:04.455" v="750"/>
          <ac:spMkLst>
            <pc:docMk/>
            <pc:sldMk cId="255658505" sldId="613"/>
            <ac:spMk id="6" creationId="{13B3AE08-A375-B95C-18A6-1C6B7D306BAE}"/>
          </ac:spMkLst>
        </pc:spChg>
        <pc:spChg chg="add del mod">
          <ac:chgData name="Hebel, Dirk" userId="be71dc4c-a1ab-4d0b-926c-9e6c8d0cf5b0" providerId="ADAL" clId="{7C525FD4-0803-4512-A428-64732F6C0BD2}" dt="2023-03-06T15:13:32.275" v="780" actId="255"/>
          <ac:spMkLst>
            <pc:docMk/>
            <pc:sldMk cId="255658505" sldId="613"/>
            <ac:spMk id="16" creationId="{0E004ACE-1C84-A644-96F5-ED02D3456C90}"/>
          </ac:spMkLst>
        </pc:spChg>
        <pc:spChg chg="add del mod">
          <ac:chgData name="Hebel, Dirk" userId="be71dc4c-a1ab-4d0b-926c-9e6c8d0cf5b0" providerId="ADAL" clId="{7C525FD4-0803-4512-A428-64732F6C0BD2}" dt="2023-03-06T15:13:32.275" v="780" actId="255"/>
          <ac:spMkLst>
            <pc:docMk/>
            <pc:sldMk cId="255658505" sldId="613"/>
            <ac:spMk id="19" creationId="{C2B1D1F1-9A85-DB46-A2AE-1098AAA2AF6B}"/>
          </ac:spMkLst>
        </pc:spChg>
        <pc:spChg chg="mod">
          <ac:chgData name="Hebel, Dirk" userId="be71dc4c-a1ab-4d0b-926c-9e6c8d0cf5b0" providerId="ADAL" clId="{7C525FD4-0803-4512-A428-64732F6C0BD2}" dt="2023-03-06T15:13:52.205" v="782" actId="255"/>
          <ac:spMkLst>
            <pc:docMk/>
            <pc:sldMk cId="255658505" sldId="613"/>
            <ac:spMk id="20" creationId="{A195008C-9BB1-004F-8852-94929A80759A}"/>
          </ac:spMkLst>
        </pc:spChg>
        <pc:spChg chg="mod">
          <ac:chgData name="Hebel, Dirk" userId="be71dc4c-a1ab-4d0b-926c-9e6c8d0cf5b0" providerId="ADAL" clId="{7C525FD4-0803-4512-A428-64732F6C0BD2}" dt="2023-03-06T15:13:52.205" v="782" actId="255"/>
          <ac:spMkLst>
            <pc:docMk/>
            <pc:sldMk cId="255658505" sldId="613"/>
            <ac:spMk id="21" creationId="{ED207231-5FD1-264E-A8E5-56757EC28C2B}"/>
          </ac:spMkLst>
        </pc:spChg>
        <pc:spChg chg="mod">
          <ac:chgData name="Hebel, Dirk" userId="be71dc4c-a1ab-4d0b-926c-9e6c8d0cf5b0" providerId="ADAL" clId="{7C525FD4-0803-4512-A428-64732F6C0BD2}" dt="2023-03-06T15:13:52.205" v="782" actId="255"/>
          <ac:spMkLst>
            <pc:docMk/>
            <pc:sldMk cId="255658505" sldId="613"/>
            <ac:spMk id="22" creationId="{3C39A54B-EB3F-D546-B725-810BF3E7E7CE}"/>
          </ac:spMkLst>
        </pc:spChg>
        <pc:spChg chg="add del mod">
          <ac:chgData name="Hebel, Dirk" userId="be71dc4c-a1ab-4d0b-926c-9e6c8d0cf5b0" providerId="ADAL" clId="{7C525FD4-0803-4512-A428-64732F6C0BD2}" dt="2023-03-06T15:13:32.275" v="780" actId="255"/>
          <ac:spMkLst>
            <pc:docMk/>
            <pc:sldMk cId="255658505" sldId="613"/>
            <ac:spMk id="23" creationId="{6C217929-B4CD-0A43-A9D7-621E76C8A896}"/>
          </ac:spMkLst>
        </pc:spChg>
        <pc:spChg chg="add del mod">
          <ac:chgData name="Hebel, Dirk" userId="be71dc4c-a1ab-4d0b-926c-9e6c8d0cf5b0" providerId="ADAL" clId="{7C525FD4-0803-4512-A428-64732F6C0BD2}" dt="2023-03-06T15:13:32.275" v="780" actId="255"/>
          <ac:spMkLst>
            <pc:docMk/>
            <pc:sldMk cId="255658505" sldId="613"/>
            <ac:spMk id="24" creationId="{D8DC6783-1C04-3C4E-856A-15BCBE9636D1}"/>
          </ac:spMkLst>
        </pc:spChg>
        <pc:spChg chg="add del mod">
          <ac:chgData name="Hebel, Dirk" userId="be71dc4c-a1ab-4d0b-926c-9e6c8d0cf5b0" providerId="ADAL" clId="{7C525FD4-0803-4512-A428-64732F6C0BD2}" dt="2023-03-06T15:13:32.275" v="780" actId="255"/>
          <ac:spMkLst>
            <pc:docMk/>
            <pc:sldMk cId="255658505" sldId="613"/>
            <ac:spMk id="26" creationId="{5FDCA6C1-CFCD-A549-BBD2-DDB7516CA15B}"/>
          </ac:spMkLst>
        </pc:spChg>
        <pc:spChg chg="add del mod">
          <ac:chgData name="Hebel, Dirk" userId="be71dc4c-a1ab-4d0b-926c-9e6c8d0cf5b0" providerId="ADAL" clId="{7C525FD4-0803-4512-A428-64732F6C0BD2}" dt="2023-03-06T15:13:32.275" v="780" actId="255"/>
          <ac:spMkLst>
            <pc:docMk/>
            <pc:sldMk cId="255658505" sldId="613"/>
            <ac:spMk id="29" creationId="{02BC1384-2B56-DC4F-BE8C-49033E3F02F2}"/>
          </ac:spMkLst>
        </pc:spChg>
      </pc:sldChg>
      <pc:sldChg chg="addSp delSp modSp add mod ord modClrScheme delAnim chgLayout modNotes">
        <pc:chgData name="Hebel, Dirk" userId="be71dc4c-a1ab-4d0b-926c-9e6c8d0cf5b0" providerId="ADAL" clId="{7C525FD4-0803-4512-A428-64732F6C0BD2}" dt="2023-03-06T15:21:24.095" v="1236" actId="14100"/>
        <pc:sldMkLst>
          <pc:docMk/>
          <pc:sldMk cId="3996737273" sldId="635"/>
        </pc:sldMkLst>
        <pc:spChg chg="add del mod ord">
          <ac:chgData name="Hebel, Dirk" userId="be71dc4c-a1ab-4d0b-926c-9e6c8d0cf5b0" providerId="ADAL" clId="{7C525FD4-0803-4512-A428-64732F6C0BD2}" dt="2023-03-06T14:43:20.704" v="230"/>
          <ac:spMkLst>
            <pc:docMk/>
            <pc:sldMk cId="3996737273" sldId="635"/>
            <ac:spMk id="2" creationId="{A0722093-A489-7ED7-AD8B-AF540850A811}"/>
          </ac:spMkLst>
        </pc:spChg>
        <pc:spChg chg="add del mod">
          <ac:chgData name="Hebel, Dirk" userId="be71dc4c-a1ab-4d0b-926c-9e6c8d0cf5b0" providerId="ADAL" clId="{7C525FD4-0803-4512-A428-64732F6C0BD2}" dt="2023-03-06T14:43:18.210" v="229"/>
          <ac:spMkLst>
            <pc:docMk/>
            <pc:sldMk cId="3996737273" sldId="635"/>
            <ac:spMk id="3" creationId="{A6E05C76-874B-35DD-5AF8-18C14683CEA9}"/>
          </ac:spMkLst>
        </pc:spChg>
        <pc:spChg chg="add del mod">
          <ac:chgData name="Hebel, Dirk" userId="be71dc4c-a1ab-4d0b-926c-9e6c8d0cf5b0" providerId="ADAL" clId="{7C525FD4-0803-4512-A428-64732F6C0BD2}" dt="2023-03-06T14:43:18.210" v="229"/>
          <ac:spMkLst>
            <pc:docMk/>
            <pc:sldMk cId="3996737273" sldId="635"/>
            <ac:spMk id="4" creationId="{3109A076-2752-381D-6AC2-FF69A7F80B38}"/>
          </ac:spMkLst>
        </pc:spChg>
        <pc:spChg chg="mod ord">
          <ac:chgData name="Hebel, Dirk" userId="be71dc4c-a1ab-4d0b-926c-9e6c8d0cf5b0" providerId="ADAL" clId="{7C525FD4-0803-4512-A428-64732F6C0BD2}" dt="2023-03-06T15:21:00.595" v="1233" actId="700"/>
          <ac:spMkLst>
            <pc:docMk/>
            <pc:sldMk cId="3996737273" sldId="635"/>
            <ac:spMk id="5" creationId="{00000000-0000-0000-0000-000000000000}"/>
          </ac:spMkLst>
        </pc:spChg>
        <pc:spChg chg="add del mod">
          <ac:chgData name="Hebel, Dirk" userId="be71dc4c-a1ab-4d0b-926c-9e6c8d0cf5b0" providerId="ADAL" clId="{7C525FD4-0803-4512-A428-64732F6C0BD2}" dt="2023-03-06T14:43:20.704" v="230"/>
          <ac:spMkLst>
            <pc:docMk/>
            <pc:sldMk cId="3996737273" sldId="635"/>
            <ac:spMk id="6" creationId="{08659FBD-182F-C0A9-9C06-5895370B4356}"/>
          </ac:spMkLst>
        </pc:spChg>
        <pc:spChg chg="add del mod ord">
          <ac:chgData name="Hebel, Dirk" userId="be71dc4c-a1ab-4d0b-926c-9e6c8d0cf5b0" providerId="ADAL" clId="{7C525FD4-0803-4512-A428-64732F6C0BD2}" dt="2023-03-06T14:43:24.428" v="231" actId="700"/>
          <ac:spMkLst>
            <pc:docMk/>
            <pc:sldMk cId="3996737273" sldId="635"/>
            <ac:spMk id="7" creationId="{5BC19CF1-A224-8B9A-3146-19F275673A1B}"/>
          </ac:spMkLst>
        </pc:spChg>
        <pc:spChg chg="add del mod ord">
          <ac:chgData name="Hebel, Dirk" userId="be71dc4c-a1ab-4d0b-926c-9e6c8d0cf5b0" providerId="ADAL" clId="{7C525FD4-0803-4512-A428-64732F6C0BD2}" dt="2023-03-06T14:43:40.895" v="237" actId="478"/>
          <ac:spMkLst>
            <pc:docMk/>
            <pc:sldMk cId="3996737273" sldId="635"/>
            <ac:spMk id="8" creationId="{8E62C90F-E191-A300-6F58-CE2F37EA3E9C}"/>
          </ac:spMkLst>
        </pc:spChg>
        <pc:spChg chg="mod">
          <ac:chgData name="Hebel, Dirk" userId="be71dc4c-a1ab-4d0b-926c-9e6c8d0cf5b0" providerId="ADAL" clId="{7C525FD4-0803-4512-A428-64732F6C0BD2}" dt="2023-03-06T15:21:24.095" v="1236" actId="14100"/>
          <ac:spMkLst>
            <pc:docMk/>
            <pc:sldMk cId="3996737273" sldId="635"/>
            <ac:spMk id="13" creationId="{2CCBBB94-6747-C64D-8625-B87CB48F217A}"/>
          </ac:spMkLst>
        </pc:spChg>
        <pc:spChg chg="add del mod">
          <ac:chgData name="Hebel, Dirk" userId="be71dc4c-a1ab-4d0b-926c-9e6c8d0cf5b0" providerId="ADAL" clId="{7C525FD4-0803-4512-A428-64732F6C0BD2}" dt="2023-03-06T15:20:54.493" v="1232"/>
          <ac:spMkLst>
            <pc:docMk/>
            <pc:sldMk cId="3996737273" sldId="635"/>
            <ac:spMk id="29" creationId="{F56D702E-6460-8AC8-E007-C7E2226EB92B}"/>
          </ac:spMkLst>
        </pc:spChg>
        <pc:spChg chg="add del mod ord">
          <ac:chgData name="Hebel, Dirk" userId="be71dc4c-a1ab-4d0b-926c-9e6c8d0cf5b0" providerId="ADAL" clId="{7C525FD4-0803-4512-A428-64732F6C0BD2}" dt="2023-03-06T15:21:00.595" v="1233" actId="700"/>
          <ac:spMkLst>
            <pc:docMk/>
            <pc:sldMk cId="3996737273" sldId="635"/>
            <ac:spMk id="30" creationId="{6D41D185-90B9-4D6D-65B7-81D3B86BDEE8}"/>
          </ac:spMkLst>
        </pc:spChg>
        <pc:spChg chg="add del mod ord">
          <ac:chgData name="Hebel, Dirk" userId="be71dc4c-a1ab-4d0b-926c-9e6c8d0cf5b0" providerId="ADAL" clId="{7C525FD4-0803-4512-A428-64732F6C0BD2}" dt="2023-03-06T15:21:03.849" v="1234" actId="478"/>
          <ac:spMkLst>
            <pc:docMk/>
            <pc:sldMk cId="3996737273" sldId="635"/>
            <ac:spMk id="31" creationId="{A675D64B-C32A-4893-BEA2-E43F700696C9}"/>
          </ac:spMkLst>
        </pc:spChg>
        <pc:spChg chg="add del mod ord">
          <ac:chgData name="Hebel, Dirk" userId="be71dc4c-a1ab-4d0b-926c-9e6c8d0cf5b0" providerId="ADAL" clId="{7C525FD4-0803-4512-A428-64732F6C0BD2}" dt="2023-03-06T15:21:03.849" v="1234" actId="478"/>
          <ac:spMkLst>
            <pc:docMk/>
            <pc:sldMk cId="3996737273" sldId="635"/>
            <ac:spMk id="32" creationId="{8A18A8ED-AFBF-2CF4-493E-677C74F32F3D}"/>
          </ac:spMkLst>
        </pc:spChg>
        <pc:grpChg chg="del mod">
          <ac:chgData name="Hebel, Dirk" userId="be71dc4c-a1ab-4d0b-926c-9e6c8d0cf5b0" providerId="ADAL" clId="{7C525FD4-0803-4512-A428-64732F6C0BD2}" dt="2023-03-06T14:55:37.242" v="555" actId="478"/>
          <ac:grpSpMkLst>
            <pc:docMk/>
            <pc:sldMk cId="3996737273" sldId="635"/>
            <ac:grpSpMk id="12" creationId="{29735C41-3C88-634D-9F36-DC6C011F130B}"/>
          </ac:grpSpMkLst>
        </pc:grpChg>
        <pc:grpChg chg="del mod">
          <ac:chgData name="Hebel, Dirk" userId="be71dc4c-a1ab-4d0b-926c-9e6c8d0cf5b0" providerId="ADAL" clId="{7C525FD4-0803-4512-A428-64732F6C0BD2}" dt="2023-03-06T14:55:37.242" v="555" actId="478"/>
          <ac:grpSpMkLst>
            <pc:docMk/>
            <pc:sldMk cId="3996737273" sldId="635"/>
            <ac:grpSpMk id="16" creationId="{FA3C5B06-6E1C-AD45-9B95-1E4D41D0DDBA}"/>
          </ac:grpSpMkLst>
        </pc:grpChg>
        <pc:grpChg chg="del mod">
          <ac:chgData name="Hebel, Dirk" userId="be71dc4c-a1ab-4d0b-926c-9e6c8d0cf5b0" providerId="ADAL" clId="{7C525FD4-0803-4512-A428-64732F6C0BD2}" dt="2023-03-06T14:55:32.116" v="554" actId="478"/>
          <ac:grpSpMkLst>
            <pc:docMk/>
            <pc:sldMk cId="3996737273" sldId="635"/>
            <ac:grpSpMk id="19" creationId="{4084D83A-AD2B-DC44-A7C3-66961CEE5EC2}"/>
          </ac:grpSpMkLst>
        </pc:grpChg>
        <pc:grpChg chg="del mod">
          <ac:chgData name="Hebel, Dirk" userId="be71dc4c-a1ab-4d0b-926c-9e6c8d0cf5b0" providerId="ADAL" clId="{7C525FD4-0803-4512-A428-64732F6C0BD2}" dt="2023-03-06T14:55:37.242" v="555" actId="478"/>
          <ac:grpSpMkLst>
            <pc:docMk/>
            <pc:sldMk cId="3996737273" sldId="635"/>
            <ac:grpSpMk id="20" creationId="{41FFD691-4B59-FC4D-B5F6-5C52CF7CD21B}"/>
          </ac:grpSpMkLst>
        </pc:grpChg>
        <pc:grpChg chg="del mod">
          <ac:chgData name="Hebel, Dirk" userId="be71dc4c-a1ab-4d0b-926c-9e6c8d0cf5b0" providerId="ADAL" clId="{7C525FD4-0803-4512-A428-64732F6C0BD2}" dt="2023-03-06T14:55:37.242" v="555" actId="478"/>
          <ac:grpSpMkLst>
            <pc:docMk/>
            <pc:sldMk cId="3996737273" sldId="635"/>
            <ac:grpSpMk id="23" creationId="{47D3746A-9C45-E04C-9D73-C364E9032A6F}"/>
          </ac:grpSpMkLst>
        </pc:grpChg>
        <pc:grpChg chg="del mod">
          <ac:chgData name="Hebel, Dirk" userId="be71dc4c-a1ab-4d0b-926c-9e6c8d0cf5b0" providerId="ADAL" clId="{7C525FD4-0803-4512-A428-64732F6C0BD2}" dt="2023-03-06T14:55:37.242" v="555" actId="478"/>
          <ac:grpSpMkLst>
            <pc:docMk/>
            <pc:sldMk cId="3996737273" sldId="635"/>
            <ac:grpSpMk id="26" creationId="{095ECF45-4927-7848-A706-FF78164F9059}"/>
          </ac:grpSpMkLst>
        </pc:grpChg>
      </pc:sldChg>
      <pc:sldChg chg="addSp delSp modSp add mod modNotes">
        <pc:chgData name="Hebel, Dirk" userId="be71dc4c-a1ab-4d0b-926c-9e6c8d0cf5b0" providerId="ADAL" clId="{7C525FD4-0803-4512-A428-64732F6C0BD2}" dt="2023-03-06T15:14:38.093" v="818" actId="14100"/>
        <pc:sldMkLst>
          <pc:docMk/>
          <pc:sldMk cId="2185778304" sldId="2147327001"/>
        </pc:sldMkLst>
        <pc:spChg chg="add del mod">
          <ac:chgData name="Hebel, Dirk" userId="be71dc4c-a1ab-4d0b-926c-9e6c8d0cf5b0" providerId="ADAL" clId="{7C525FD4-0803-4512-A428-64732F6C0BD2}" dt="2023-03-06T15:14:11.587" v="784"/>
          <ac:spMkLst>
            <pc:docMk/>
            <pc:sldMk cId="2185778304" sldId="2147327001"/>
            <ac:spMk id="2" creationId="{BD06278C-D0F8-26CE-8313-0BD76CF51920}"/>
          </ac:spMkLst>
        </pc:spChg>
        <pc:spChg chg="add del mod">
          <ac:chgData name="Hebel, Dirk" userId="be71dc4c-a1ab-4d0b-926c-9e6c8d0cf5b0" providerId="ADAL" clId="{7C525FD4-0803-4512-A428-64732F6C0BD2}" dt="2023-03-06T15:14:11.587" v="784"/>
          <ac:spMkLst>
            <pc:docMk/>
            <pc:sldMk cId="2185778304" sldId="2147327001"/>
            <ac:spMk id="3" creationId="{318EA697-A66B-7C90-DE8A-542CCC6B7068}"/>
          </ac:spMkLst>
        </pc:spChg>
        <pc:spChg chg="mod">
          <ac:chgData name="Hebel, Dirk" userId="be71dc4c-a1ab-4d0b-926c-9e6c8d0cf5b0" providerId="ADAL" clId="{7C525FD4-0803-4512-A428-64732F6C0BD2}" dt="2023-03-06T15:14:21.824" v="788" actId="6549"/>
          <ac:spMkLst>
            <pc:docMk/>
            <pc:sldMk cId="2185778304" sldId="2147327001"/>
            <ac:spMk id="4" creationId="{00000000-0000-0000-0000-000000000000}"/>
          </ac:spMkLst>
        </pc:spChg>
        <pc:spChg chg="mod">
          <ac:chgData name="Hebel, Dirk" userId="be71dc4c-a1ab-4d0b-926c-9e6c8d0cf5b0" providerId="ADAL" clId="{7C525FD4-0803-4512-A428-64732F6C0BD2}" dt="2023-03-06T15:14:38.093" v="818" actId="14100"/>
          <ac:spMkLst>
            <pc:docMk/>
            <pc:sldMk cId="2185778304" sldId="2147327001"/>
            <ac:spMk id="5" creationId="{00000000-0000-0000-0000-000000000000}"/>
          </ac:spMkLst>
        </pc:spChg>
      </pc:sldChg>
      <pc:sldChg chg="addSp delSp modSp add mod">
        <pc:chgData name="Hebel, Dirk" userId="be71dc4c-a1ab-4d0b-926c-9e6c8d0cf5b0" providerId="ADAL" clId="{7C525FD4-0803-4512-A428-64732F6C0BD2}" dt="2023-03-06T15:12:10.898" v="757" actId="478"/>
        <pc:sldMkLst>
          <pc:docMk/>
          <pc:sldMk cId="3992090400" sldId="2147327011"/>
        </pc:sldMkLst>
        <pc:spChg chg="mod">
          <ac:chgData name="Hebel, Dirk" userId="be71dc4c-a1ab-4d0b-926c-9e6c8d0cf5b0" providerId="ADAL" clId="{7C525FD4-0803-4512-A428-64732F6C0BD2}" dt="2023-03-06T15:11:31.787" v="752" actId="6549"/>
          <ac:spMkLst>
            <pc:docMk/>
            <pc:sldMk cId="3992090400" sldId="2147327011"/>
            <ac:spMk id="5" creationId="{00000000-0000-0000-0000-000000000000}"/>
          </ac:spMkLst>
        </pc:spChg>
        <pc:spChg chg="add del mod">
          <ac:chgData name="Hebel, Dirk" userId="be71dc4c-a1ab-4d0b-926c-9e6c8d0cf5b0" providerId="ADAL" clId="{7C525FD4-0803-4512-A428-64732F6C0BD2}" dt="2023-03-06T15:11:28.071" v="751"/>
          <ac:spMkLst>
            <pc:docMk/>
            <pc:sldMk cId="3992090400" sldId="2147327011"/>
            <ac:spMk id="7" creationId="{D5FA78FE-6F60-B73A-4BDF-A5ADF147826A}"/>
          </ac:spMkLst>
        </pc:spChg>
        <pc:spChg chg="add del mod">
          <ac:chgData name="Hebel, Dirk" userId="be71dc4c-a1ab-4d0b-926c-9e6c8d0cf5b0" providerId="ADAL" clId="{7C525FD4-0803-4512-A428-64732F6C0BD2}" dt="2023-03-06T15:12:10.898" v="757" actId="478"/>
          <ac:spMkLst>
            <pc:docMk/>
            <pc:sldMk cId="3992090400" sldId="2147327011"/>
            <ac:spMk id="8" creationId="{5FBC095F-3241-C767-B15C-E6876A4990D1}"/>
          </ac:spMkLst>
        </pc:spChg>
      </pc:sldChg>
      <pc:sldChg chg="addSp delSp modSp add mod">
        <pc:chgData name="Hebel, Dirk" userId="be71dc4c-a1ab-4d0b-926c-9e6c8d0cf5b0" providerId="ADAL" clId="{7C525FD4-0803-4512-A428-64732F6C0BD2}" dt="2023-03-06T15:12:09.586" v="756" actId="478"/>
        <pc:sldMkLst>
          <pc:docMk/>
          <pc:sldMk cId="4287940627" sldId="2147327012"/>
        </pc:sldMkLst>
        <pc:spChg chg="mod">
          <ac:chgData name="Hebel, Dirk" userId="be71dc4c-a1ab-4d0b-926c-9e6c8d0cf5b0" providerId="ADAL" clId="{7C525FD4-0803-4512-A428-64732F6C0BD2}" dt="2023-03-06T15:11:39.473" v="755" actId="6549"/>
          <ac:spMkLst>
            <pc:docMk/>
            <pc:sldMk cId="4287940627" sldId="2147327012"/>
            <ac:spMk id="5" creationId="{00000000-0000-0000-0000-000000000000}"/>
          </ac:spMkLst>
        </pc:spChg>
        <pc:spChg chg="add del mod">
          <ac:chgData name="Hebel, Dirk" userId="be71dc4c-a1ab-4d0b-926c-9e6c8d0cf5b0" providerId="ADAL" clId="{7C525FD4-0803-4512-A428-64732F6C0BD2}" dt="2023-03-06T15:11:35.461" v="753"/>
          <ac:spMkLst>
            <pc:docMk/>
            <pc:sldMk cId="4287940627" sldId="2147327012"/>
            <ac:spMk id="7" creationId="{F58AB2DF-2E34-4669-18F5-705C468D0E08}"/>
          </ac:spMkLst>
        </pc:spChg>
        <pc:spChg chg="add del mod">
          <ac:chgData name="Hebel, Dirk" userId="be71dc4c-a1ab-4d0b-926c-9e6c8d0cf5b0" providerId="ADAL" clId="{7C525FD4-0803-4512-A428-64732F6C0BD2}" dt="2023-03-06T15:12:09.586" v="756" actId="478"/>
          <ac:spMkLst>
            <pc:docMk/>
            <pc:sldMk cId="4287940627" sldId="2147327012"/>
            <ac:spMk id="8" creationId="{D1668983-6D09-0B46-C967-1BD793993C9F}"/>
          </ac:spMkLst>
        </pc:spChg>
      </pc:sldChg>
      <pc:sldChg chg="add del">
        <pc:chgData name="Hebel, Dirk" userId="be71dc4c-a1ab-4d0b-926c-9e6c8d0cf5b0" providerId="ADAL" clId="{7C525FD4-0803-4512-A428-64732F6C0BD2}" dt="2023-03-06T15:05:01.033" v="690" actId="47"/>
        <pc:sldMkLst>
          <pc:docMk/>
          <pc:sldMk cId="1299354245" sldId="2147327016"/>
        </pc:sldMkLst>
      </pc:sldChg>
      <pc:sldChg chg="add del">
        <pc:chgData name="Hebel, Dirk" userId="be71dc4c-a1ab-4d0b-926c-9e6c8d0cf5b0" providerId="ADAL" clId="{7C525FD4-0803-4512-A428-64732F6C0BD2}" dt="2023-03-06T15:05:02.229" v="691" actId="47"/>
        <pc:sldMkLst>
          <pc:docMk/>
          <pc:sldMk cId="3221709753" sldId="2147327017"/>
        </pc:sldMkLst>
      </pc:sldChg>
      <pc:sldChg chg="add del">
        <pc:chgData name="Hebel, Dirk" userId="be71dc4c-a1ab-4d0b-926c-9e6c8d0cf5b0" providerId="ADAL" clId="{7C525FD4-0803-4512-A428-64732F6C0BD2}" dt="2023-03-06T15:10:14.360" v="713" actId="47"/>
        <pc:sldMkLst>
          <pc:docMk/>
          <pc:sldMk cId="2309868944" sldId="2147327018"/>
        </pc:sldMkLst>
      </pc:sldChg>
      <pc:sldChg chg="add del">
        <pc:chgData name="Hebel, Dirk" userId="be71dc4c-a1ab-4d0b-926c-9e6c8d0cf5b0" providerId="ADAL" clId="{7C525FD4-0803-4512-A428-64732F6C0BD2}" dt="2023-03-06T15:04:58.920" v="689" actId="47"/>
        <pc:sldMkLst>
          <pc:docMk/>
          <pc:sldMk cId="2353454653" sldId="2147327029"/>
        </pc:sldMkLst>
      </pc:sldChg>
      <pc:sldChg chg="addSp delSp modSp add del mod">
        <pc:chgData name="Hebel, Dirk" userId="be71dc4c-a1ab-4d0b-926c-9e6c8d0cf5b0" providerId="ADAL" clId="{7C525FD4-0803-4512-A428-64732F6C0BD2}" dt="2023-03-06T15:00:27.082" v="577" actId="47"/>
        <pc:sldMkLst>
          <pc:docMk/>
          <pc:sldMk cId="3488844870" sldId="2147327030"/>
        </pc:sldMkLst>
        <pc:spChg chg="mod">
          <ac:chgData name="Hebel, Dirk" userId="be71dc4c-a1ab-4d0b-926c-9e6c8d0cf5b0" providerId="ADAL" clId="{7C525FD4-0803-4512-A428-64732F6C0BD2}" dt="2023-03-06T14:57:03.697" v="561" actId="404"/>
          <ac:spMkLst>
            <pc:docMk/>
            <pc:sldMk cId="3488844870" sldId="2147327030"/>
            <ac:spMk id="2" creationId="{76B85400-C87D-DE89-3E4E-DA22B8B96DE4}"/>
          </ac:spMkLst>
        </pc:spChg>
        <pc:spChg chg="mod">
          <ac:chgData name="Hebel, Dirk" userId="be71dc4c-a1ab-4d0b-926c-9e6c8d0cf5b0" providerId="ADAL" clId="{7C525FD4-0803-4512-A428-64732F6C0BD2}" dt="2023-03-06T14:57:27.762" v="570" actId="20577"/>
          <ac:spMkLst>
            <pc:docMk/>
            <pc:sldMk cId="3488844870" sldId="2147327030"/>
            <ac:spMk id="3" creationId="{705C4483-C2E6-8F25-B10C-A971AF2FA18A}"/>
          </ac:spMkLst>
        </pc:spChg>
        <pc:spChg chg="add del mod">
          <ac:chgData name="Hebel, Dirk" userId="be71dc4c-a1ab-4d0b-926c-9e6c8d0cf5b0" providerId="ADAL" clId="{7C525FD4-0803-4512-A428-64732F6C0BD2}" dt="2023-03-06T14:57:18.132" v="565"/>
          <ac:spMkLst>
            <pc:docMk/>
            <pc:sldMk cId="3488844870" sldId="2147327030"/>
            <ac:spMk id="5" creationId="{A5FF89BA-5F66-4D09-9794-B1AA193537D0}"/>
          </ac:spMkLst>
        </pc:spChg>
        <pc:spChg chg="add del mod">
          <ac:chgData name="Hebel, Dirk" userId="be71dc4c-a1ab-4d0b-926c-9e6c8d0cf5b0" providerId="ADAL" clId="{7C525FD4-0803-4512-A428-64732F6C0BD2}" dt="2023-03-06T14:57:21.421" v="566" actId="478"/>
          <ac:spMkLst>
            <pc:docMk/>
            <pc:sldMk cId="3488844870" sldId="2147327030"/>
            <ac:spMk id="6" creationId="{FECF9A7E-0669-10DF-6175-67580D02EE8C}"/>
          </ac:spMkLst>
        </pc:spChg>
        <pc:spChg chg="mod">
          <ac:chgData name="Hebel, Dirk" userId="be71dc4c-a1ab-4d0b-926c-9e6c8d0cf5b0" providerId="ADAL" clId="{7C525FD4-0803-4512-A428-64732F6C0BD2}" dt="2023-03-06T14:57:03.697" v="561" actId="404"/>
          <ac:spMkLst>
            <pc:docMk/>
            <pc:sldMk cId="3488844870" sldId="2147327030"/>
            <ac:spMk id="7" creationId="{0E8FD7E8-BED1-8BF8-E79E-F25511E1C2A2}"/>
          </ac:spMkLst>
        </pc:spChg>
        <pc:spChg chg="mod">
          <ac:chgData name="Hebel, Dirk" userId="be71dc4c-a1ab-4d0b-926c-9e6c8d0cf5b0" providerId="ADAL" clId="{7C525FD4-0803-4512-A428-64732F6C0BD2}" dt="2023-03-06T14:57:03.697" v="561" actId="404"/>
          <ac:spMkLst>
            <pc:docMk/>
            <pc:sldMk cId="3488844870" sldId="2147327030"/>
            <ac:spMk id="14" creationId="{DE78FC0E-F15B-69CE-304E-0065A7A8B35E}"/>
          </ac:spMkLst>
        </pc:spChg>
        <pc:spChg chg="mod">
          <ac:chgData name="Hebel, Dirk" userId="be71dc4c-a1ab-4d0b-926c-9e6c8d0cf5b0" providerId="ADAL" clId="{7C525FD4-0803-4512-A428-64732F6C0BD2}" dt="2023-03-06T14:57:03.697" v="561" actId="404"/>
          <ac:spMkLst>
            <pc:docMk/>
            <pc:sldMk cId="3488844870" sldId="2147327030"/>
            <ac:spMk id="15" creationId="{4EE6A55F-88BD-C14A-F66D-60B65BDBDBB5}"/>
          </ac:spMkLst>
        </pc:spChg>
        <pc:spChg chg="mod">
          <ac:chgData name="Hebel, Dirk" userId="be71dc4c-a1ab-4d0b-926c-9e6c8d0cf5b0" providerId="ADAL" clId="{7C525FD4-0803-4512-A428-64732F6C0BD2}" dt="2023-03-06T14:57:03.697" v="561" actId="404"/>
          <ac:spMkLst>
            <pc:docMk/>
            <pc:sldMk cId="3488844870" sldId="2147327030"/>
            <ac:spMk id="16" creationId="{C41E33EF-7E60-CD29-2B8F-2DC385E502AB}"/>
          </ac:spMkLst>
        </pc:spChg>
        <pc:spChg chg="mod">
          <ac:chgData name="Hebel, Dirk" userId="be71dc4c-a1ab-4d0b-926c-9e6c8d0cf5b0" providerId="ADAL" clId="{7C525FD4-0803-4512-A428-64732F6C0BD2}" dt="2023-03-06T14:57:10.912" v="564" actId="6549"/>
          <ac:spMkLst>
            <pc:docMk/>
            <pc:sldMk cId="3488844870" sldId="2147327030"/>
            <ac:spMk id="17" creationId="{C29F7657-221C-7D13-A7E8-03340C4B4FAE}"/>
          </ac:spMkLst>
        </pc:spChg>
        <pc:spChg chg="mod">
          <ac:chgData name="Hebel, Dirk" userId="be71dc4c-a1ab-4d0b-926c-9e6c8d0cf5b0" providerId="ADAL" clId="{7C525FD4-0803-4512-A428-64732F6C0BD2}" dt="2023-03-06T14:57:03.697" v="561" actId="404"/>
          <ac:spMkLst>
            <pc:docMk/>
            <pc:sldMk cId="3488844870" sldId="2147327030"/>
            <ac:spMk id="24" creationId="{919061B4-8E58-4D1D-4BB4-BAD01A091A90}"/>
          </ac:spMkLst>
        </pc:spChg>
        <pc:spChg chg="mod">
          <ac:chgData name="Hebel, Dirk" userId="be71dc4c-a1ab-4d0b-926c-9e6c8d0cf5b0" providerId="ADAL" clId="{7C525FD4-0803-4512-A428-64732F6C0BD2}" dt="2023-03-06T14:57:03.697" v="561" actId="404"/>
          <ac:spMkLst>
            <pc:docMk/>
            <pc:sldMk cId="3488844870" sldId="2147327030"/>
            <ac:spMk id="28" creationId="{1C1F7AB6-9705-3A12-DD09-16921748F324}"/>
          </ac:spMkLst>
        </pc:spChg>
        <pc:spChg chg="mod">
          <ac:chgData name="Hebel, Dirk" userId="be71dc4c-a1ab-4d0b-926c-9e6c8d0cf5b0" providerId="ADAL" clId="{7C525FD4-0803-4512-A428-64732F6C0BD2}" dt="2023-03-06T14:57:03.697" v="561" actId="404"/>
          <ac:spMkLst>
            <pc:docMk/>
            <pc:sldMk cId="3488844870" sldId="2147327030"/>
            <ac:spMk id="29" creationId="{6E3DEDA8-1DC4-CB58-7C9C-4AC8B5D68F92}"/>
          </ac:spMkLst>
        </pc:spChg>
        <pc:spChg chg="mod">
          <ac:chgData name="Hebel, Dirk" userId="be71dc4c-a1ab-4d0b-926c-9e6c8d0cf5b0" providerId="ADAL" clId="{7C525FD4-0803-4512-A428-64732F6C0BD2}" dt="2023-03-06T14:57:03.697" v="561" actId="404"/>
          <ac:spMkLst>
            <pc:docMk/>
            <pc:sldMk cId="3488844870" sldId="2147327030"/>
            <ac:spMk id="30" creationId="{799E096B-88FE-331F-9447-AF813584812B}"/>
          </ac:spMkLst>
        </pc:spChg>
        <pc:spChg chg="mod">
          <ac:chgData name="Hebel, Dirk" userId="be71dc4c-a1ab-4d0b-926c-9e6c8d0cf5b0" providerId="ADAL" clId="{7C525FD4-0803-4512-A428-64732F6C0BD2}" dt="2023-03-06T14:57:03.697" v="561" actId="404"/>
          <ac:spMkLst>
            <pc:docMk/>
            <pc:sldMk cId="3488844870" sldId="2147327030"/>
            <ac:spMk id="31" creationId="{B7F9148A-4D99-0D5C-B197-0456991E28FD}"/>
          </ac:spMkLst>
        </pc:spChg>
        <pc:spChg chg="mod">
          <ac:chgData name="Hebel, Dirk" userId="be71dc4c-a1ab-4d0b-926c-9e6c8d0cf5b0" providerId="ADAL" clId="{7C525FD4-0803-4512-A428-64732F6C0BD2}" dt="2023-03-06T14:57:03.697" v="561" actId="404"/>
          <ac:spMkLst>
            <pc:docMk/>
            <pc:sldMk cId="3488844870" sldId="2147327030"/>
            <ac:spMk id="32" creationId="{9E1EF55B-8BB0-145E-9E25-1D27DD7C50DF}"/>
          </ac:spMkLst>
        </pc:spChg>
      </pc:sldChg>
      <pc:sldChg chg="modSp add mod modShow">
        <pc:chgData name="Hebel, Dirk" userId="be71dc4c-a1ab-4d0b-926c-9e6c8d0cf5b0" providerId="ADAL" clId="{7C525FD4-0803-4512-A428-64732F6C0BD2}" dt="2023-03-06T15:14:49.096" v="847" actId="1035"/>
        <pc:sldMkLst>
          <pc:docMk/>
          <pc:sldMk cId="1072361869" sldId="2147327047"/>
        </pc:sldMkLst>
        <pc:spChg chg="mod">
          <ac:chgData name="Hebel, Dirk" userId="be71dc4c-a1ab-4d0b-926c-9e6c8d0cf5b0" providerId="ADAL" clId="{7C525FD4-0803-4512-A428-64732F6C0BD2}" dt="2023-03-06T14:30:43.042" v="172" actId="27636"/>
          <ac:spMkLst>
            <pc:docMk/>
            <pc:sldMk cId="1072361869" sldId="2147327047"/>
            <ac:spMk id="5" creationId="{00000000-0000-0000-0000-000000000000}"/>
          </ac:spMkLst>
        </pc:spChg>
        <pc:picChg chg="mod">
          <ac:chgData name="Hebel, Dirk" userId="be71dc4c-a1ab-4d0b-926c-9e6c8d0cf5b0" providerId="ADAL" clId="{7C525FD4-0803-4512-A428-64732F6C0BD2}" dt="2023-03-06T15:14:49.096" v="847" actId="1035"/>
          <ac:picMkLst>
            <pc:docMk/>
            <pc:sldMk cId="1072361869" sldId="2147327047"/>
            <ac:picMk id="32" creationId="{750E15EC-FC98-AD2A-1AD4-956C8C5EB721}"/>
          </ac:picMkLst>
        </pc:picChg>
      </pc:sldChg>
      <pc:sldChg chg="addSp modSp add mod">
        <pc:chgData name="Hebel, Dirk" userId="be71dc4c-a1ab-4d0b-926c-9e6c8d0cf5b0" providerId="ADAL" clId="{7C525FD4-0803-4512-A428-64732F6C0BD2}" dt="2023-03-06T15:17:31.192" v="888" actId="1076"/>
        <pc:sldMkLst>
          <pc:docMk/>
          <pc:sldMk cId="3052081886" sldId="2147327048"/>
        </pc:sldMkLst>
        <pc:spChg chg="add mod">
          <ac:chgData name="Hebel, Dirk" userId="be71dc4c-a1ab-4d0b-926c-9e6c8d0cf5b0" providerId="ADAL" clId="{7C525FD4-0803-4512-A428-64732F6C0BD2}" dt="2023-03-06T15:16:04.710" v="864" actId="14100"/>
          <ac:spMkLst>
            <pc:docMk/>
            <pc:sldMk cId="3052081886" sldId="2147327048"/>
            <ac:spMk id="7" creationId="{313D312D-8431-203A-802B-62830A01DC92}"/>
          </ac:spMkLst>
        </pc:spChg>
        <pc:spChg chg="add mod">
          <ac:chgData name="Hebel, Dirk" userId="be71dc4c-a1ab-4d0b-926c-9e6c8d0cf5b0" providerId="ADAL" clId="{7C525FD4-0803-4512-A428-64732F6C0BD2}" dt="2023-03-06T15:16:35.389" v="872" actId="14100"/>
          <ac:spMkLst>
            <pc:docMk/>
            <pc:sldMk cId="3052081886" sldId="2147327048"/>
            <ac:spMk id="25" creationId="{7CFED8C1-F5C1-5788-3C4E-F0779E7157B0}"/>
          </ac:spMkLst>
        </pc:spChg>
        <pc:spChg chg="add mod">
          <ac:chgData name="Hebel, Dirk" userId="be71dc4c-a1ab-4d0b-926c-9e6c8d0cf5b0" providerId="ADAL" clId="{7C525FD4-0803-4512-A428-64732F6C0BD2}" dt="2023-03-06T15:16:43.694" v="874" actId="1076"/>
          <ac:spMkLst>
            <pc:docMk/>
            <pc:sldMk cId="3052081886" sldId="2147327048"/>
            <ac:spMk id="30" creationId="{99F259F1-9959-81AB-EF3D-78A805DC180E}"/>
          </ac:spMkLst>
        </pc:spChg>
        <pc:spChg chg="add mod">
          <ac:chgData name="Hebel, Dirk" userId="be71dc4c-a1ab-4d0b-926c-9e6c8d0cf5b0" providerId="ADAL" clId="{7C525FD4-0803-4512-A428-64732F6C0BD2}" dt="2023-03-06T15:17:05.871" v="880" actId="14100"/>
          <ac:spMkLst>
            <pc:docMk/>
            <pc:sldMk cId="3052081886" sldId="2147327048"/>
            <ac:spMk id="31" creationId="{4B57DDFD-64DE-3B87-D317-AA41F8A0D1FE}"/>
          </ac:spMkLst>
        </pc:spChg>
        <pc:spChg chg="add mod">
          <ac:chgData name="Hebel, Dirk" userId="be71dc4c-a1ab-4d0b-926c-9e6c8d0cf5b0" providerId="ADAL" clId="{7C525FD4-0803-4512-A428-64732F6C0BD2}" dt="2023-03-06T15:17:02.585" v="879" actId="14100"/>
          <ac:spMkLst>
            <pc:docMk/>
            <pc:sldMk cId="3052081886" sldId="2147327048"/>
            <ac:spMk id="32" creationId="{71D3C749-B0E3-009E-9366-21C5566B8300}"/>
          </ac:spMkLst>
        </pc:spChg>
        <pc:spChg chg="add mod">
          <ac:chgData name="Hebel, Dirk" userId="be71dc4c-a1ab-4d0b-926c-9e6c8d0cf5b0" providerId="ADAL" clId="{7C525FD4-0803-4512-A428-64732F6C0BD2}" dt="2023-03-06T15:17:14.474" v="882" actId="1076"/>
          <ac:spMkLst>
            <pc:docMk/>
            <pc:sldMk cId="3052081886" sldId="2147327048"/>
            <ac:spMk id="33" creationId="{461CBFF4-3944-2C67-C573-41114666C351}"/>
          </ac:spMkLst>
        </pc:spChg>
        <pc:spChg chg="add mod">
          <ac:chgData name="Hebel, Dirk" userId="be71dc4c-a1ab-4d0b-926c-9e6c8d0cf5b0" providerId="ADAL" clId="{7C525FD4-0803-4512-A428-64732F6C0BD2}" dt="2023-03-06T15:17:18.374" v="884" actId="1076"/>
          <ac:spMkLst>
            <pc:docMk/>
            <pc:sldMk cId="3052081886" sldId="2147327048"/>
            <ac:spMk id="34" creationId="{421704B5-8585-E55E-1CDF-36EC0926D054}"/>
          </ac:spMkLst>
        </pc:spChg>
        <pc:spChg chg="add mod">
          <ac:chgData name="Hebel, Dirk" userId="be71dc4c-a1ab-4d0b-926c-9e6c8d0cf5b0" providerId="ADAL" clId="{7C525FD4-0803-4512-A428-64732F6C0BD2}" dt="2023-03-06T15:17:22.802" v="886" actId="1076"/>
          <ac:spMkLst>
            <pc:docMk/>
            <pc:sldMk cId="3052081886" sldId="2147327048"/>
            <ac:spMk id="35" creationId="{C9F13B3A-0B98-6915-6BD2-05DC70EA0492}"/>
          </ac:spMkLst>
        </pc:spChg>
        <pc:spChg chg="add mod">
          <ac:chgData name="Hebel, Dirk" userId="be71dc4c-a1ab-4d0b-926c-9e6c8d0cf5b0" providerId="ADAL" clId="{7C525FD4-0803-4512-A428-64732F6C0BD2}" dt="2023-03-06T15:17:31.192" v="888" actId="1076"/>
          <ac:spMkLst>
            <pc:docMk/>
            <pc:sldMk cId="3052081886" sldId="2147327048"/>
            <ac:spMk id="36" creationId="{B89C29D8-AA5C-19C8-DE38-28857A36D55A}"/>
          </ac:spMkLst>
        </pc:spChg>
      </pc:sldChg>
      <pc:sldChg chg="addSp modSp add mod">
        <pc:chgData name="Hebel, Dirk" userId="be71dc4c-a1ab-4d0b-926c-9e6c8d0cf5b0" providerId="ADAL" clId="{7C525FD4-0803-4512-A428-64732F6C0BD2}" dt="2023-03-06T15:15:37.099" v="860" actId="1076"/>
        <pc:sldMkLst>
          <pc:docMk/>
          <pc:sldMk cId="3661002907" sldId="2147327049"/>
        </pc:sldMkLst>
        <pc:spChg chg="add mod">
          <ac:chgData name="Hebel, Dirk" userId="be71dc4c-a1ab-4d0b-926c-9e6c8d0cf5b0" providerId="ADAL" clId="{7C525FD4-0803-4512-A428-64732F6C0BD2}" dt="2023-03-06T15:15:18.205" v="851" actId="14100"/>
          <ac:spMkLst>
            <pc:docMk/>
            <pc:sldMk cId="3661002907" sldId="2147327049"/>
            <ac:spMk id="2" creationId="{63B9225A-8112-4EC8-8C1C-05AE09063EB7}"/>
          </ac:spMkLst>
        </pc:spChg>
        <pc:spChg chg="add mod">
          <ac:chgData name="Hebel, Dirk" userId="be71dc4c-a1ab-4d0b-926c-9e6c8d0cf5b0" providerId="ADAL" clId="{7C525FD4-0803-4512-A428-64732F6C0BD2}" dt="2023-03-06T15:15:28.502" v="856" actId="1036"/>
          <ac:spMkLst>
            <pc:docMk/>
            <pc:sldMk cId="3661002907" sldId="2147327049"/>
            <ac:spMk id="7" creationId="{450ACD77-3531-06CD-3647-35FA27032062}"/>
          </ac:spMkLst>
        </pc:spChg>
        <pc:spChg chg="add mod">
          <ac:chgData name="Hebel, Dirk" userId="be71dc4c-a1ab-4d0b-926c-9e6c8d0cf5b0" providerId="ADAL" clId="{7C525FD4-0803-4512-A428-64732F6C0BD2}" dt="2023-03-06T15:15:32.581" v="858" actId="1076"/>
          <ac:spMkLst>
            <pc:docMk/>
            <pc:sldMk cId="3661002907" sldId="2147327049"/>
            <ac:spMk id="30" creationId="{0DE9F5F2-9424-67F6-AA9C-3723787D323F}"/>
          </ac:spMkLst>
        </pc:spChg>
        <pc:spChg chg="add mod">
          <ac:chgData name="Hebel, Dirk" userId="be71dc4c-a1ab-4d0b-926c-9e6c8d0cf5b0" providerId="ADAL" clId="{7C525FD4-0803-4512-A428-64732F6C0BD2}" dt="2023-03-06T15:15:37.099" v="860" actId="1076"/>
          <ac:spMkLst>
            <pc:docMk/>
            <pc:sldMk cId="3661002907" sldId="2147327049"/>
            <ac:spMk id="31" creationId="{FEEC01A7-D4DE-3FAE-ECA3-9BE2E49DE603}"/>
          </ac:spMkLst>
        </pc:spChg>
      </pc:sldChg>
      <pc:sldChg chg="add mod modShow">
        <pc:chgData name="Hebel, Dirk" userId="be71dc4c-a1ab-4d0b-926c-9e6c8d0cf5b0" providerId="ADAL" clId="{7C525FD4-0803-4512-A428-64732F6C0BD2}" dt="2023-03-06T15:03:03.485" v="640" actId="729"/>
        <pc:sldMkLst>
          <pc:docMk/>
          <pc:sldMk cId="3422717109" sldId="2147327050"/>
        </pc:sldMkLst>
      </pc:sldChg>
      <pc:sldChg chg="add">
        <pc:chgData name="Hebel, Dirk" userId="be71dc4c-a1ab-4d0b-926c-9e6c8d0cf5b0" providerId="ADAL" clId="{7C525FD4-0803-4512-A428-64732F6C0BD2}" dt="2023-03-06T14:30:42.970" v="169"/>
        <pc:sldMkLst>
          <pc:docMk/>
          <pc:sldMk cId="358177723" sldId="2147327054"/>
        </pc:sldMkLst>
      </pc:sldChg>
      <pc:sldChg chg="addSp delSp modSp add mod ord modClrScheme chgLayout">
        <pc:chgData name="Hebel, Dirk" userId="be71dc4c-a1ab-4d0b-926c-9e6c8d0cf5b0" providerId="ADAL" clId="{7C525FD4-0803-4512-A428-64732F6C0BD2}" dt="2023-03-06T15:21:12.746" v="1235" actId="108"/>
        <pc:sldMkLst>
          <pc:docMk/>
          <pc:sldMk cId="3419914217" sldId="2147327073"/>
        </pc:sldMkLst>
        <pc:spChg chg="mod ord">
          <ac:chgData name="Hebel, Dirk" userId="be71dc4c-a1ab-4d0b-926c-9e6c8d0cf5b0" providerId="ADAL" clId="{7C525FD4-0803-4512-A428-64732F6C0BD2}" dt="2023-03-06T15:20:50.649" v="1230" actId="700"/>
          <ac:spMkLst>
            <pc:docMk/>
            <pc:sldMk cId="3419914217" sldId="2147327073"/>
            <ac:spMk id="3" creationId="{D4292FD7-3DC3-3234-B85E-F74BF13921ED}"/>
          </ac:spMkLst>
        </pc:spChg>
        <pc:spChg chg="mod">
          <ac:chgData name="Hebel, Dirk" userId="be71dc4c-a1ab-4d0b-926c-9e6c8d0cf5b0" providerId="ADAL" clId="{7C525FD4-0803-4512-A428-64732F6C0BD2}" dt="2023-03-06T15:21:12.746" v="1235" actId="108"/>
          <ac:spMkLst>
            <pc:docMk/>
            <pc:sldMk cId="3419914217" sldId="2147327073"/>
            <ac:spMk id="4" creationId="{E5575E41-AC11-8682-9954-287A8E5CE791}"/>
          </ac:spMkLst>
        </pc:spChg>
        <pc:spChg chg="add del mod ord">
          <ac:chgData name="Hebel, Dirk" userId="be71dc4c-a1ab-4d0b-926c-9e6c8d0cf5b0" providerId="ADAL" clId="{7C525FD4-0803-4512-A428-64732F6C0BD2}" dt="2023-03-06T14:32:47.346" v="195" actId="700"/>
          <ac:spMkLst>
            <pc:docMk/>
            <pc:sldMk cId="3419914217" sldId="2147327073"/>
            <ac:spMk id="5" creationId="{5664128A-1C9B-8E22-376B-999CBBAC6469}"/>
          </ac:spMkLst>
        </pc:spChg>
        <pc:spChg chg="add del mod ord">
          <ac:chgData name="Hebel, Dirk" userId="be71dc4c-a1ab-4d0b-926c-9e6c8d0cf5b0" providerId="ADAL" clId="{7C525FD4-0803-4512-A428-64732F6C0BD2}" dt="2023-03-06T14:32:51.005" v="196" actId="478"/>
          <ac:spMkLst>
            <pc:docMk/>
            <pc:sldMk cId="3419914217" sldId="2147327073"/>
            <ac:spMk id="6" creationId="{E78BAF8F-3290-3B38-B0BF-6111A37698DB}"/>
          </ac:spMkLst>
        </pc:spChg>
        <pc:spChg chg="mod">
          <ac:chgData name="Hebel, Dirk" userId="be71dc4c-a1ab-4d0b-926c-9e6c8d0cf5b0" providerId="ADAL" clId="{7C525FD4-0803-4512-A428-64732F6C0BD2}" dt="2023-03-06T14:39:17.991" v="221" actId="404"/>
          <ac:spMkLst>
            <pc:docMk/>
            <pc:sldMk cId="3419914217" sldId="2147327073"/>
            <ac:spMk id="7" creationId="{C44A0136-6913-3616-3E0C-5DD5A7B99916}"/>
          </ac:spMkLst>
        </pc:spChg>
        <pc:spChg chg="mod">
          <ac:chgData name="Hebel, Dirk" userId="be71dc4c-a1ab-4d0b-926c-9e6c8d0cf5b0" providerId="ADAL" clId="{7C525FD4-0803-4512-A428-64732F6C0BD2}" dt="2023-03-06T14:39:17.991" v="221" actId="404"/>
          <ac:spMkLst>
            <pc:docMk/>
            <pc:sldMk cId="3419914217" sldId="2147327073"/>
            <ac:spMk id="8" creationId="{8752D50C-0EC6-898B-1472-06E362D374B6}"/>
          </ac:spMkLst>
        </pc:spChg>
        <pc:spChg chg="add del mod ord">
          <ac:chgData name="Hebel, Dirk" userId="be71dc4c-a1ab-4d0b-926c-9e6c8d0cf5b0" providerId="ADAL" clId="{7C525FD4-0803-4512-A428-64732F6C0BD2}" dt="2023-03-06T14:32:51.005" v="196" actId="478"/>
          <ac:spMkLst>
            <pc:docMk/>
            <pc:sldMk cId="3419914217" sldId="2147327073"/>
            <ac:spMk id="9" creationId="{EE66DB7B-DDA4-48C5-5B53-CD16AA56A366}"/>
          </ac:spMkLst>
        </pc:spChg>
        <pc:spChg chg="mod">
          <ac:chgData name="Hebel, Dirk" userId="be71dc4c-a1ab-4d0b-926c-9e6c8d0cf5b0" providerId="ADAL" clId="{7C525FD4-0803-4512-A428-64732F6C0BD2}" dt="2023-03-06T14:39:17.991" v="221" actId="404"/>
          <ac:spMkLst>
            <pc:docMk/>
            <pc:sldMk cId="3419914217" sldId="2147327073"/>
            <ac:spMk id="12" creationId="{4A6B5029-8573-7324-DF1F-0126AAD80A6C}"/>
          </ac:spMkLst>
        </pc:spChg>
        <pc:spChg chg="mod">
          <ac:chgData name="Hebel, Dirk" userId="be71dc4c-a1ab-4d0b-926c-9e6c8d0cf5b0" providerId="ADAL" clId="{7C525FD4-0803-4512-A428-64732F6C0BD2}" dt="2023-03-06T14:39:27.607" v="223" actId="14100"/>
          <ac:spMkLst>
            <pc:docMk/>
            <pc:sldMk cId="3419914217" sldId="2147327073"/>
            <ac:spMk id="15" creationId="{50E2DEF8-197E-1727-A121-9F1EF2E3ADD4}"/>
          </ac:spMkLst>
        </pc:spChg>
        <pc:spChg chg="mod">
          <ac:chgData name="Hebel, Dirk" userId="be71dc4c-a1ab-4d0b-926c-9e6c8d0cf5b0" providerId="ADAL" clId="{7C525FD4-0803-4512-A428-64732F6C0BD2}" dt="2023-03-06T14:39:17.991" v="221" actId="404"/>
          <ac:spMkLst>
            <pc:docMk/>
            <pc:sldMk cId="3419914217" sldId="2147327073"/>
            <ac:spMk id="16" creationId="{2D7FEA3C-F330-90A2-9477-9CA2DEDAA75D}"/>
          </ac:spMkLst>
        </pc:spChg>
        <pc:spChg chg="add del mod">
          <ac:chgData name="Hebel, Dirk" userId="be71dc4c-a1ab-4d0b-926c-9e6c8d0cf5b0" providerId="ADAL" clId="{7C525FD4-0803-4512-A428-64732F6C0BD2}" dt="2023-03-06T15:20:39.979" v="1228"/>
          <ac:spMkLst>
            <pc:docMk/>
            <pc:sldMk cId="3419914217" sldId="2147327073"/>
            <ac:spMk id="20" creationId="{1D7E098A-53A2-697D-E969-F7B21679497C}"/>
          </ac:spMkLst>
        </pc:spChg>
        <pc:spChg chg="add del mod">
          <ac:chgData name="Hebel, Dirk" userId="be71dc4c-a1ab-4d0b-926c-9e6c8d0cf5b0" providerId="ADAL" clId="{7C525FD4-0803-4512-A428-64732F6C0BD2}" dt="2023-03-06T15:20:43.494" v="1229" actId="478"/>
          <ac:spMkLst>
            <pc:docMk/>
            <pc:sldMk cId="3419914217" sldId="2147327073"/>
            <ac:spMk id="21" creationId="{12DAA07A-7B33-12B5-3129-3EF5676372E6}"/>
          </ac:spMkLst>
        </pc:spChg>
        <pc:spChg chg="add del mod">
          <ac:chgData name="Hebel, Dirk" userId="be71dc4c-a1ab-4d0b-926c-9e6c8d0cf5b0" providerId="ADAL" clId="{7C525FD4-0803-4512-A428-64732F6C0BD2}" dt="2023-03-06T15:20:43.494" v="1229" actId="478"/>
          <ac:spMkLst>
            <pc:docMk/>
            <pc:sldMk cId="3419914217" sldId="2147327073"/>
            <ac:spMk id="22" creationId="{76C4BD78-DC1E-FB72-AFE4-5AEBB13D199A}"/>
          </ac:spMkLst>
        </pc:spChg>
        <pc:spChg chg="add del mod ord">
          <ac:chgData name="Hebel, Dirk" userId="be71dc4c-a1ab-4d0b-926c-9e6c8d0cf5b0" providerId="ADAL" clId="{7C525FD4-0803-4512-A428-64732F6C0BD2}" dt="2023-03-06T15:20:52.385" v="1231" actId="478"/>
          <ac:spMkLst>
            <pc:docMk/>
            <pc:sldMk cId="3419914217" sldId="2147327073"/>
            <ac:spMk id="23" creationId="{47330EB9-DAB8-D908-3FCF-87A3A8BBB19E}"/>
          </ac:spMkLst>
        </pc:spChg>
        <pc:picChg chg="del">
          <ac:chgData name="Hebel, Dirk" userId="be71dc4c-a1ab-4d0b-926c-9e6c8d0cf5b0" providerId="ADAL" clId="{7C525FD4-0803-4512-A428-64732F6C0BD2}" dt="2023-03-06T14:39:04.560" v="219" actId="478"/>
          <ac:picMkLst>
            <pc:docMk/>
            <pc:sldMk cId="3419914217" sldId="2147327073"/>
            <ac:picMk id="2" creationId="{DA6CA374-9BC1-AD3C-8F2F-030D3E71FC62}"/>
          </ac:picMkLst>
        </pc:picChg>
        <pc:picChg chg="mod">
          <ac:chgData name="Hebel, Dirk" userId="be71dc4c-a1ab-4d0b-926c-9e6c8d0cf5b0" providerId="ADAL" clId="{7C525FD4-0803-4512-A428-64732F6C0BD2}" dt="2023-03-06T14:38:56.085" v="217" actId="14100"/>
          <ac:picMkLst>
            <pc:docMk/>
            <pc:sldMk cId="3419914217" sldId="2147327073"/>
            <ac:picMk id="13" creationId="{C0F1CF12-FACB-B0B7-FCBC-767E4F1BABA6}"/>
          </ac:picMkLst>
        </pc:picChg>
        <pc:picChg chg="mod">
          <ac:chgData name="Hebel, Dirk" userId="be71dc4c-a1ab-4d0b-926c-9e6c8d0cf5b0" providerId="ADAL" clId="{7C525FD4-0803-4512-A428-64732F6C0BD2}" dt="2023-03-06T14:38:59.698" v="218" actId="14100"/>
          <ac:picMkLst>
            <pc:docMk/>
            <pc:sldMk cId="3419914217" sldId="2147327073"/>
            <ac:picMk id="18" creationId="{A9CDD9BA-FBC4-FBF2-BA9B-B7BC3EDC316E}"/>
          </ac:picMkLst>
        </pc:picChg>
      </pc:sldChg>
      <pc:sldChg chg="addSp modSp add mod">
        <pc:chgData name="Hebel, Dirk" userId="be71dc4c-a1ab-4d0b-926c-9e6c8d0cf5b0" providerId="ADAL" clId="{7C525FD4-0803-4512-A428-64732F6C0BD2}" dt="2023-03-06T15:16:13.026" v="869" actId="20577"/>
        <pc:sldMkLst>
          <pc:docMk/>
          <pc:sldMk cId="2198619011" sldId="2147327074"/>
        </pc:sldMkLst>
        <pc:spChg chg="add mod">
          <ac:chgData name="Hebel, Dirk" userId="be71dc4c-a1ab-4d0b-926c-9e6c8d0cf5b0" providerId="ADAL" clId="{7C525FD4-0803-4512-A428-64732F6C0BD2}" dt="2023-03-06T15:02:41.899" v="639" actId="14100"/>
          <ac:spMkLst>
            <pc:docMk/>
            <pc:sldMk cId="2198619011" sldId="2147327074"/>
            <ac:spMk id="2" creationId="{D9A52694-112E-AE24-BF2C-7DBC9084192F}"/>
          </ac:spMkLst>
        </pc:spChg>
        <pc:spChg chg="mod">
          <ac:chgData name="Hebel, Dirk" userId="be71dc4c-a1ab-4d0b-926c-9e6c8d0cf5b0" providerId="ADAL" clId="{7C525FD4-0803-4512-A428-64732F6C0BD2}" dt="2023-03-06T14:33:05.610" v="201" actId="20577"/>
          <ac:spMkLst>
            <pc:docMk/>
            <pc:sldMk cId="2198619011" sldId="2147327074"/>
            <ac:spMk id="4" creationId="{E5575E41-AC11-8682-9954-287A8E5CE791}"/>
          </ac:spMkLst>
        </pc:spChg>
        <pc:spChg chg="add mod">
          <ac:chgData name="Hebel, Dirk" userId="be71dc4c-a1ab-4d0b-926c-9e6c8d0cf5b0" providerId="ADAL" clId="{7C525FD4-0803-4512-A428-64732F6C0BD2}" dt="2023-03-06T15:16:13.026" v="869" actId="20577"/>
          <ac:spMkLst>
            <pc:docMk/>
            <pc:sldMk cId="2198619011" sldId="2147327074"/>
            <ac:spMk id="7" creationId="{C8DF6F05-A130-A99D-2CF6-52531B342EA1}"/>
          </ac:spMkLst>
        </pc:spChg>
        <pc:spChg chg="add mod">
          <ac:chgData name="Hebel, Dirk" userId="be71dc4c-a1ab-4d0b-926c-9e6c8d0cf5b0" providerId="ADAL" clId="{7C525FD4-0803-4512-A428-64732F6C0BD2}" dt="2023-03-06T15:04:31.246" v="681" actId="14100"/>
          <ac:spMkLst>
            <pc:docMk/>
            <pc:sldMk cId="2198619011" sldId="2147327074"/>
            <ac:spMk id="8" creationId="{9A6BD83F-C660-BFDA-6F57-DACEAA27AD6B}"/>
          </ac:spMkLst>
        </pc:spChg>
        <pc:spChg chg="add mod">
          <ac:chgData name="Hebel, Dirk" userId="be71dc4c-a1ab-4d0b-926c-9e6c8d0cf5b0" providerId="ADAL" clId="{7C525FD4-0803-4512-A428-64732F6C0BD2}" dt="2023-03-06T15:07:56.555" v="709" actId="14100"/>
          <ac:spMkLst>
            <pc:docMk/>
            <pc:sldMk cId="2198619011" sldId="2147327074"/>
            <ac:spMk id="9" creationId="{5E879FCE-A853-901A-A4CD-627263FE5FBD}"/>
          </ac:spMkLst>
        </pc:spChg>
        <pc:spChg chg="add mod">
          <ac:chgData name="Hebel, Dirk" userId="be71dc4c-a1ab-4d0b-926c-9e6c8d0cf5b0" providerId="ADAL" clId="{7C525FD4-0803-4512-A428-64732F6C0BD2}" dt="2023-03-06T15:04:52.848" v="688" actId="1076"/>
          <ac:spMkLst>
            <pc:docMk/>
            <pc:sldMk cId="2198619011" sldId="2147327074"/>
            <ac:spMk id="10" creationId="{968C8CCD-0EBA-DBB6-A23C-B9DFBDA6A982}"/>
          </ac:spMkLst>
        </pc:spChg>
        <pc:spChg chg="add mod">
          <ac:chgData name="Hebel, Dirk" userId="be71dc4c-a1ab-4d0b-926c-9e6c8d0cf5b0" providerId="ADAL" clId="{7C525FD4-0803-4512-A428-64732F6C0BD2}" dt="2023-03-06T15:06:20.994" v="700" actId="14100"/>
          <ac:spMkLst>
            <pc:docMk/>
            <pc:sldMk cId="2198619011" sldId="2147327074"/>
            <ac:spMk id="11" creationId="{D87FC98F-445E-08EA-CFBE-5C5437583363}"/>
          </ac:spMkLst>
        </pc:spChg>
        <pc:spChg chg="add mod">
          <ac:chgData name="Hebel, Dirk" userId="be71dc4c-a1ab-4d0b-926c-9e6c8d0cf5b0" providerId="ADAL" clId="{7C525FD4-0803-4512-A428-64732F6C0BD2}" dt="2023-03-06T15:07:09.238" v="701"/>
          <ac:spMkLst>
            <pc:docMk/>
            <pc:sldMk cId="2198619011" sldId="2147327074"/>
            <ac:spMk id="12" creationId="{E4923CB2-3D1F-E667-C7A7-B230180D3E0D}"/>
          </ac:spMkLst>
        </pc:spChg>
        <pc:spChg chg="add mod">
          <ac:chgData name="Hebel, Dirk" userId="be71dc4c-a1ab-4d0b-926c-9e6c8d0cf5b0" providerId="ADAL" clId="{7C525FD4-0803-4512-A428-64732F6C0BD2}" dt="2023-03-06T15:07:23.930" v="705" actId="14100"/>
          <ac:spMkLst>
            <pc:docMk/>
            <pc:sldMk cId="2198619011" sldId="2147327074"/>
            <ac:spMk id="13" creationId="{7E6E13E3-BA92-2F96-C52F-9AFA987DAA13}"/>
          </ac:spMkLst>
        </pc:spChg>
        <pc:spChg chg="add mod">
          <ac:chgData name="Hebel, Dirk" userId="be71dc4c-a1ab-4d0b-926c-9e6c8d0cf5b0" providerId="ADAL" clId="{7C525FD4-0803-4512-A428-64732F6C0BD2}" dt="2023-03-06T15:07:37.321" v="708" actId="14100"/>
          <ac:spMkLst>
            <pc:docMk/>
            <pc:sldMk cId="2198619011" sldId="2147327074"/>
            <ac:spMk id="14" creationId="{0A2BDF38-E33C-17FB-6A27-1898696E6670}"/>
          </ac:spMkLst>
        </pc:spChg>
        <pc:spChg chg="add mod">
          <ac:chgData name="Hebel, Dirk" userId="be71dc4c-a1ab-4d0b-926c-9e6c8d0cf5b0" providerId="ADAL" clId="{7C525FD4-0803-4512-A428-64732F6C0BD2}" dt="2023-03-06T15:08:07.559" v="712" actId="14100"/>
          <ac:spMkLst>
            <pc:docMk/>
            <pc:sldMk cId="2198619011" sldId="2147327074"/>
            <ac:spMk id="15" creationId="{2835924C-ACD4-E2CE-56B8-87248F206339}"/>
          </ac:spMkLst>
        </pc:spChg>
        <pc:picChg chg="mod modCrop">
          <ac:chgData name="Hebel, Dirk" userId="be71dc4c-a1ab-4d0b-926c-9e6c8d0cf5b0" providerId="ADAL" clId="{7C525FD4-0803-4512-A428-64732F6C0BD2}" dt="2023-03-06T15:04:35.019" v="684" actId="1076"/>
          <ac:picMkLst>
            <pc:docMk/>
            <pc:sldMk cId="2198619011" sldId="2147327074"/>
            <ac:picMk id="5" creationId="{55128C0B-B79A-4332-B798-A1EBC65D9FF3}"/>
          </ac:picMkLst>
        </pc:picChg>
        <pc:picChg chg="mod">
          <ac:chgData name="Hebel, Dirk" userId="be71dc4c-a1ab-4d0b-926c-9e6c8d0cf5b0" providerId="ADAL" clId="{7C525FD4-0803-4512-A428-64732F6C0BD2}" dt="2023-03-06T15:15:02.361" v="848" actId="1076"/>
          <ac:picMkLst>
            <pc:docMk/>
            <pc:sldMk cId="2198619011" sldId="2147327074"/>
            <ac:picMk id="6" creationId="{FC162D9C-5D2D-E40B-A4DB-F07097859FEC}"/>
          </ac:picMkLst>
        </pc:picChg>
      </pc:sldChg>
      <pc:sldChg chg="addSp delSp modSp add mod ord delAnim">
        <pc:chgData name="Hebel, Dirk" userId="be71dc4c-a1ab-4d0b-926c-9e6c8d0cf5b0" providerId="ADAL" clId="{7C525FD4-0803-4512-A428-64732F6C0BD2}" dt="2023-03-06T14:58:12.029" v="576" actId="14100"/>
        <pc:sldMkLst>
          <pc:docMk/>
          <pc:sldMk cId="1895569461" sldId="2147327075"/>
        </pc:sldMkLst>
        <pc:spChg chg="mod">
          <ac:chgData name="Hebel, Dirk" userId="be71dc4c-a1ab-4d0b-926c-9e6c8d0cf5b0" providerId="ADAL" clId="{7C525FD4-0803-4512-A428-64732F6C0BD2}" dt="2023-03-06T14:57:41.680" v="571"/>
          <ac:spMkLst>
            <pc:docMk/>
            <pc:sldMk cId="1895569461" sldId="2147327075"/>
            <ac:spMk id="5" creationId="{00000000-0000-0000-0000-000000000000}"/>
          </ac:spMkLst>
        </pc:spChg>
        <pc:spChg chg="mod">
          <ac:chgData name="Hebel, Dirk" userId="be71dc4c-a1ab-4d0b-926c-9e6c8d0cf5b0" providerId="ADAL" clId="{7C525FD4-0803-4512-A428-64732F6C0BD2}" dt="2023-03-06T14:57:41.680" v="571"/>
          <ac:spMkLst>
            <pc:docMk/>
            <pc:sldMk cId="1895569461" sldId="2147327075"/>
            <ac:spMk id="6" creationId="{0C99377C-26DC-4822-8E13-082F053164FF}"/>
          </ac:spMkLst>
        </pc:spChg>
        <pc:spChg chg="add mod">
          <ac:chgData name="Hebel, Dirk" userId="be71dc4c-a1ab-4d0b-926c-9e6c8d0cf5b0" providerId="ADAL" clId="{7C525FD4-0803-4512-A428-64732F6C0BD2}" dt="2023-03-06T14:57:55.416" v="572" actId="1076"/>
          <ac:spMkLst>
            <pc:docMk/>
            <pc:sldMk cId="1895569461" sldId="2147327075"/>
            <ac:spMk id="7" creationId="{AB1BC504-57C2-56EF-833D-646979F98F5B}"/>
          </ac:spMkLst>
        </pc:spChg>
        <pc:spChg chg="add mod">
          <ac:chgData name="Hebel, Dirk" userId="be71dc4c-a1ab-4d0b-926c-9e6c8d0cf5b0" providerId="ADAL" clId="{7C525FD4-0803-4512-A428-64732F6C0BD2}" dt="2023-03-06T14:57:55.416" v="572" actId="1076"/>
          <ac:spMkLst>
            <pc:docMk/>
            <pc:sldMk cId="1895569461" sldId="2147327075"/>
            <ac:spMk id="25" creationId="{BB750BF6-8FD8-8E0D-556D-B978D9CC16F9}"/>
          </ac:spMkLst>
        </pc:spChg>
        <pc:spChg chg="del">
          <ac:chgData name="Hebel, Dirk" userId="be71dc4c-a1ab-4d0b-926c-9e6c8d0cf5b0" providerId="ADAL" clId="{7C525FD4-0803-4512-A428-64732F6C0BD2}" dt="2023-03-06T14:49:30.689" v="417" actId="21"/>
          <ac:spMkLst>
            <pc:docMk/>
            <pc:sldMk cId="1895569461" sldId="2147327075"/>
            <ac:spMk id="30" creationId="{3616DF7E-937F-174C-8493-080C6FB12F4B}"/>
          </ac:spMkLst>
        </pc:spChg>
        <pc:spChg chg="mod">
          <ac:chgData name="Hebel, Dirk" userId="be71dc4c-a1ab-4d0b-926c-9e6c8d0cf5b0" providerId="ADAL" clId="{7C525FD4-0803-4512-A428-64732F6C0BD2}" dt="2023-03-06T14:50:50.467" v="526"/>
          <ac:spMkLst>
            <pc:docMk/>
            <pc:sldMk cId="1895569461" sldId="2147327075"/>
            <ac:spMk id="31" creationId="{8DA2EF79-E0D1-611D-4D07-26FDB74DD2B5}"/>
          </ac:spMkLst>
        </pc:spChg>
        <pc:spChg chg="mod">
          <ac:chgData name="Hebel, Dirk" userId="be71dc4c-a1ab-4d0b-926c-9e6c8d0cf5b0" providerId="ADAL" clId="{7C525FD4-0803-4512-A428-64732F6C0BD2}" dt="2023-03-06T14:50:50.467" v="526"/>
          <ac:spMkLst>
            <pc:docMk/>
            <pc:sldMk cId="1895569461" sldId="2147327075"/>
            <ac:spMk id="32" creationId="{594763A3-F3E1-F913-1513-BD3E245965BA}"/>
          </ac:spMkLst>
        </pc:spChg>
        <pc:spChg chg="mod topLvl">
          <ac:chgData name="Hebel, Dirk" userId="be71dc4c-a1ab-4d0b-926c-9e6c8d0cf5b0" providerId="ADAL" clId="{7C525FD4-0803-4512-A428-64732F6C0BD2}" dt="2023-03-06T14:57:55.416" v="572" actId="1076"/>
          <ac:spMkLst>
            <pc:docMk/>
            <pc:sldMk cId="1895569461" sldId="2147327075"/>
            <ac:spMk id="33" creationId="{A73D8C37-7208-C047-A65B-AA6FC919EA14}"/>
          </ac:spMkLst>
        </pc:spChg>
        <pc:spChg chg="del topLvl">
          <ac:chgData name="Hebel, Dirk" userId="be71dc4c-a1ab-4d0b-926c-9e6c8d0cf5b0" providerId="ADAL" clId="{7C525FD4-0803-4512-A428-64732F6C0BD2}" dt="2023-03-06T14:50:02.752" v="517" actId="21"/>
          <ac:spMkLst>
            <pc:docMk/>
            <pc:sldMk cId="1895569461" sldId="2147327075"/>
            <ac:spMk id="34" creationId="{CD8840BF-0F5B-C142-87C7-75C9A5594BAF}"/>
          </ac:spMkLst>
        </pc:spChg>
        <pc:spChg chg="mod">
          <ac:chgData name="Hebel, Dirk" userId="be71dc4c-a1ab-4d0b-926c-9e6c8d0cf5b0" providerId="ADAL" clId="{7C525FD4-0803-4512-A428-64732F6C0BD2}" dt="2023-03-06T14:50:50.467" v="526"/>
          <ac:spMkLst>
            <pc:docMk/>
            <pc:sldMk cId="1895569461" sldId="2147327075"/>
            <ac:spMk id="35" creationId="{44D4154F-5CB8-139C-61FA-AB48384AAB86}"/>
          </ac:spMkLst>
        </pc:spChg>
        <pc:spChg chg="mod">
          <ac:chgData name="Hebel, Dirk" userId="be71dc4c-a1ab-4d0b-926c-9e6c8d0cf5b0" providerId="ADAL" clId="{7C525FD4-0803-4512-A428-64732F6C0BD2}" dt="2023-03-06T14:50:50.467" v="526"/>
          <ac:spMkLst>
            <pc:docMk/>
            <pc:sldMk cId="1895569461" sldId="2147327075"/>
            <ac:spMk id="36" creationId="{6F7DCC1D-53DD-7171-85FB-86383941E256}"/>
          </ac:spMkLst>
        </pc:spChg>
        <pc:spChg chg="add del mod">
          <ac:chgData name="Hebel, Dirk" userId="be71dc4c-a1ab-4d0b-926c-9e6c8d0cf5b0" providerId="ADAL" clId="{7C525FD4-0803-4512-A428-64732F6C0BD2}" dt="2023-03-06T14:55:14.408" v="549" actId="21"/>
          <ac:spMkLst>
            <pc:docMk/>
            <pc:sldMk cId="1895569461" sldId="2147327075"/>
            <ac:spMk id="37" creationId="{3DEA9646-D0D0-23F2-B345-DA651EF2A69C}"/>
          </ac:spMkLst>
        </pc:spChg>
        <pc:spChg chg="add del mod">
          <ac:chgData name="Hebel, Dirk" userId="be71dc4c-a1ab-4d0b-926c-9e6c8d0cf5b0" providerId="ADAL" clId="{7C525FD4-0803-4512-A428-64732F6C0BD2}" dt="2023-03-06T14:57:41.680" v="571"/>
          <ac:spMkLst>
            <pc:docMk/>
            <pc:sldMk cId="1895569461" sldId="2147327075"/>
            <ac:spMk id="38" creationId="{023CA9A5-F8AC-A7A5-0A4F-E6692648F645}"/>
          </ac:spMkLst>
        </pc:spChg>
        <pc:spChg chg="add del mod">
          <ac:chgData name="Hebel, Dirk" userId="be71dc4c-a1ab-4d0b-926c-9e6c8d0cf5b0" providerId="ADAL" clId="{7C525FD4-0803-4512-A428-64732F6C0BD2}" dt="2023-03-06T14:57:41.680" v="571"/>
          <ac:spMkLst>
            <pc:docMk/>
            <pc:sldMk cId="1895569461" sldId="2147327075"/>
            <ac:spMk id="39" creationId="{22FAC0BD-414D-2AE2-13BB-A027B67F9605}"/>
          </ac:spMkLst>
        </pc:spChg>
        <pc:grpChg chg="del">
          <ac:chgData name="Hebel, Dirk" userId="be71dc4c-a1ab-4d0b-926c-9e6c8d0cf5b0" providerId="ADAL" clId="{7C525FD4-0803-4512-A428-64732F6C0BD2}" dt="2023-03-06T14:50:02.752" v="517" actId="21"/>
          <ac:grpSpMkLst>
            <pc:docMk/>
            <pc:sldMk cId="1895569461" sldId="2147327075"/>
            <ac:grpSpMk id="2" creationId="{580F7E64-92DD-C943-AE2F-3181869CBF06}"/>
          </ac:grpSpMkLst>
        </pc:grpChg>
        <pc:grpChg chg="mod">
          <ac:chgData name="Hebel, Dirk" userId="be71dc4c-a1ab-4d0b-926c-9e6c8d0cf5b0" providerId="ADAL" clId="{7C525FD4-0803-4512-A428-64732F6C0BD2}" dt="2023-03-06T14:58:12.029" v="576" actId="14100"/>
          <ac:grpSpMkLst>
            <pc:docMk/>
            <pc:sldMk cId="1895569461" sldId="2147327075"/>
            <ac:grpSpMk id="3" creationId="{11EDA454-8428-9D41-9F67-8EF6A814B00E}"/>
          </ac:grpSpMkLst>
        </pc:grpChg>
        <pc:grpChg chg="mod">
          <ac:chgData name="Hebel, Dirk" userId="be71dc4c-a1ab-4d0b-926c-9e6c8d0cf5b0" providerId="ADAL" clId="{7C525FD4-0803-4512-A428-64732F6C0BD2}" dt="2023-03-06T14:58:01.742" v="574" actId="1076"/>
          <ac:grpSpMkLst>
            <pc:docMk/>
            <pc:sldMk cId="1895569461" sldId="2147327075"/>
            <ac:grpSpMk id="8" creationId="{C10D82AE-7303-0B4D-A423-B079C4D0B127}"/>
          </ac:grpSpMkLst>
        </pc:grpChg>
        <pc:grpChg chg="mod">
          <ac:chgData name="Hebel, Dirk" userId="be71dc4c-a1ab-4d0b-926c-9e6c8d0cf5b0" providerId="ADAL" clId="{7C525FD4-0803-4512-A428-64732F6C0BD2}" dt="2023-03-06T14:58:01.742" v="574" actId="1076"/>
          <ac:grpSpMkLst>
            <pc:docMk/>
            <pc:sldMk cId="1895569461" sldId="2147327075"/>
            <ac:grpSpMk id="10" creationId="{6EDA1E84-E786-B14F-87B4-26D19C413EE3}"/>
          </ac:grpSpMkLst>
        </pc:grpChg>
        <pc:grpChg chg="mod">
          <ac:chgData name="Hebel, Dirk" userId="be71dc4c-a1ab-4d0b-926c-9e6c8d0cf5b0" providerId="ADAL" clId="{7C525FD4-0803-4512-A428-64732F6C0BD2}" dt="2023-03-06T14:58:01.742" v="574" actId="1076"/>
          <ac:grpSpMkLst>
            <pc:docMk/>
            <pc:sldMk cId="1895569461" sldId="2147327075"/>
            <ac:grpSpMk id="12" creationId="{A54E3B61-E747-6F49-8F1A-EB5A3A9CB45B}"/>
          </ac:grpSpMkLst>
        </pc:grpChg>
        <pc:grpChg chg="mod">
          <ac:chgData name="Hebel, Dirk" userId="be71dc4c-a1ab-4d0b-926c-9e6c8d0cf5b0" providerId="ADAL" clId="{7C525FD4-0803-4512-A428-64732F6C0BD2}" dt="2023-03-06T14:49:58.469" v="515" actId="1036"/>
          <ac:grpSpMkLst>
            <pc:docMk/>
            <pc:sldMk cId="1895569461" sldId="2147327075"/>
            <ac:grpSpMk id="14" creationId="{4CF03C19-5CC3-CE46-BAE0-867CF8434924}"/>
          </ac:grpSpMkLst>
        </pc:grpChg>
        <pc:grpChg chg="mod">
          <ac:chgData name="Hebel, Dirk" userId="be71dc4c-a1ab-4d0b-926c-9e6c8d0cf5b0" providerId="ADAL" clId="{7C525FD4-0803-4512-A428-64732F6C0BD2}" dt="2023-03-06T14:49:58.469" v="515" actId="1036"/>
          <ac:grpSpMkLst>
            <pc:docMk/>
            <pc:sldMk cId="1895569461" sldId="2147327075"/>
            <ac:grpSpMk id="16" creationId="{812F7F10-D3F0-D048-AE5C-9AD9593D07AB}"/>
          </ac:grpSpMkLst>
        </pc:grpChg>
        <pc:grpChg chg="del">
          <ac:chgData name="Hebel, Dirk" userId="be71dc4c-a1ab-4d0b-926c-9e6c8d0cf5b0" providerId="ADAL" clId="{7C525FD4-0803-4512-A428-64732F6C0BD2}" dt="2023-03-06T14:49:59.853" v="516" actId="478"/>
          <ac:grpSpMkLst>
            <pc:docMk/>
            <pc:sldMk cId="1895569461" sldId="2147327075"/>
            <ac:grpSpMk id="18" creationId="{8FB05EE5-D254-FB47-B7B0-AE8D7FF52CD5}"/>
          </ac:grpSpMkLst>
        </pc:grpChg>
        <pc:grpChg chg="add del mod">
          <ac:chgData name="Hebel, Dirk" userId="be71dc4c-a1ab-4d0b-926c-9e6c8d0cf5b0" providerId="ADAL" clId="{7C525FD4-0803-4512-A428-64732F6C0BD2}" dt="2023-03-06T14:55:14.408" v="549" actId="21"/>
          <ac:grpSpMkLst>
            <pc:docMk/>
            <pc:sldMk cId="1895569461" sldId="2147327075"/>
            <ac:grpSpMk id="26" creationId="{71FA500E-5524-8661-53CD-2DAF297A062D}"/>
          </ac:grpSpMkLst>
        </pc:grpChg>
      </pc:sldChg>
      <pc:sldChg chg="addSp delSp modSp add mod">
        <pc:chgData name="Hebel, Dirk" userId="be71dc4c-a1ab-4d0b-926c-9e6c8d0cf5b0" providerId="ADAL" clId="{7C525FD4-0803-4512-A428-64732F6C0BD2}" dt="2023-03-06T15:21:28.116" v="1238"/>
        <pc:sldMkLst>
          <pc:docMk/>
          <pc:sldMk cId="3030747132" sldId="2147327076"/>
        </pc:sldMkLst>
        <pc:spChg chg="add mod">
          <ac:chgData name="Hebel, Dirk" userId="be71dc4c-a1ab-4d0b-926c-9e6c8d0cf5b0" providerId="ADAL" clId="{7C525FD4-0803-4512-A428-64732F6C0BD2}" dt="2023-03-06T15:21:28.116" v="1238"/>
          <ac:spMkLst>
            <pc:docMk/>
            <pc:sldMk cId="3030747132" sldId="2147327076"/>
            <ac:spMk id="2" creationId="{B9BD7CEB-7DE4-A52C-EE26-83A8CAF0EAF2}"/>
          </ac:spMkLst>
        </pc:spChg>
        <pc:spChg chg="del">
          <ac:chgData name="Hebel, Dirk" userId="be71dc4c-a1ab-4d0b-926c-9e6c8d0cf5b0" providerId="ADAL" clId="{7C525FD4-0803-4512-A428-64732F6C0BD2}" dt="2023-03-06T15:21:27.886" v="1237" actId="478"/>
          <ac:spMkLst>
            <pc:docMk/>
            <pc:sldMk cId="3030747132" sldId="2147327076"/>
            <ac:spMk id="13" creationId="{2CCBBB94-6747-C64D-8625-B87CB48F217A}"/>
          </ac:spMkLst>
        </pc:spChg>
      </pc:sldChg>
      <pc:sldChg chg="addSp modSp add mod">
        <pc:chgData name="Hebel, Dirk" userId="be71dc4c-a1ab-4d0b-926c-9e6c8d0cf5b0" providerId="ADAL" clId="{7C525FD4-0803-4512-A428-64732F6C0BD2}" dt="2023-03-06T14:56:12.559" v="558" actId="1076"/>
        <pc:sldMkLst>
          <pc:docMk/>
          <pc:sldMk cId="2752750649" sldId="2147327077"/>
        </pc:sldMkLst>
        <pc:picChg chg="add mod">
          <ac:chgData name="Hebel, Dirk" userId="be71dc4c-a1ab-4d0b-926c-9e6c8d0cf5b0" providerId="ADAL" clId="{7C525FD4-0803-4512-A428-64732F6C0BD2}" dt="2023-03-06T14:56:12.559" v="558" actId="1076"/>
          <ac:picMkLst>
            <pc:docMk/>
            <pc:sldMk cId="2752750649" sldId="2147327077"/>
            <ac:picMk id="2" creationId="{BBBF93CA-FAE4-B14E-7B35-7A1503563DEF}"/>
          </ac:picMkLst>
        </pc:picChg>
      </pc:sldChg>
      <pc:sldChg chg="addSp delSp modSp new mod ord modClrScheme chgLayout">
        <pc:chgData name="Hebel, Dirk" userId="be71dc4c-a1ab-4d0b-926c-9e6c8d0cf5b0" providerId="ADAL" clId="{7C525FD4-0803-4512-A428-64732F6C0BD2}" dt="2023-03-06T15:18:56.548" v="1025" actId="20577"/>
        <pc:sldMkLst>
          <pc:docMk/>
          <pc:sldMk cId="793671156" sldId="2147327078"/>
        </pc:sldMkLst>
        <pc:spChg chg="del mod ord">
          <ac:chgData name="Hebel, Dirk" userId="be71dc4c-a1ab-4d0b-926c-9e6c8d0cf5b0" providerId="ADAL" clId="{7C525FD4-0803-4512-A428-64732F6C0BD2}" dt="2023-03-06T15:17:58.948" v="892" actId="700"/>
          <ac:spMkLst>
            <pc:docMk/>
            <pc:sldMk cId="793671156" sldId="2147327078"/>
            <ac:spMk id="2" creationId="{99AEF522-98C6-E80C-5ABC-3C52EB11F6FF}"/>
          </ac:spMkLst>
        </pc:spChg>
        <pc:spChg chg="del mod ord">
          <ac:chgData name="Hebel, Dirk" userId="be71dc4c-a1ab-4d0b-926c-9e6c8d0cf5b0" providerId="ADAL" clId="{7C525FD4-0803-4512-A428-64732F6C0BD2}" dt="2023-03-06T15:17:58.948" v="892" actId="700"/>
          <ac:spMkLst>
            <pc:docMk/>
            <pc:sldMk cId="793671156" sldId="2147327078"/>
            <ac:spMk id="3" creationId="{F14128E2-2477-3257-A982-9489087415B4}"/>
          </ac:spMkLst>
        </pc:spChg>
        <pc:spChg chg="mod ord">
          <ac:chgData name="Hebel, Dirk" userId="be71dc4c-a1ab-4d0b-926c-9e6c8d0cf5b0" providerId="ADAL" clId="{7C525FD4-0803-4512-A428-64732F6C0BD2}" dt="2023-03-06T15:17:58.948" v="892" actId="700"/>
          <ac:spMkLst>
            <pc:docMk/>
            <pc:sldMk cId="793671156" sldId="2147327078"/>
            <ac:spMk id="4" creationId="{37F36A73-9953-40D4-EB5D-C74328CAE51D}"/>
          </ac:spMkLst>
        </pc:spChg>
        <pc:spChg chg="add mod ord">
          <ac:chgData name="Hebel, Dirk" userId="be71dc4c-a1ab-4d0b-926c-9e6c8d0cf5b0" providerId="ADAL" clId="{7C525FD4-0803-4512-A428-64732F6C0BD2}" dt="2023-03-06T15:18:14.167" v="941" actId="20577"/>
          <ac:spMkLst>
            <pc:docMk/>
            <pc:sldMk cId="793671156" sldId="2147327078"/>
            <ac:spMk id="5" creationId="{476902A7-47D4-AD9D-BA16-72D67A9D42AC}"/>
          </ac:spMkLst>
        </pc:spChg>
        <pc:spChg chg="add mod ord">
          <ac:chgData name="Hebel, Dirk" userId="be71dc4c-a1ab-4d0b-926c-9e6c8d0cf5b0" providerId="ADAL" clId="{7C525FD4-0803-4512-A428-64732F6C0BD2}" dt="2023-03-06T15:18:56.548" v="1025" actId="20577"/>
          <ac:spMkLst>
            <pc:docMk/>
            <pc:sldMk cId="793671156" sldId="2147327078"/>
            <ac:spMk id="6" creationId="{9F185C13-1625-21A9-4470-2E9BD6DEF79F}"/>
          </ac:spMkLst>
        </pc:spChg>
      </pc:sldChg>
      <pc:sldChg chg="addSp modSp add del mod">
        <pc:chgData name="Hebel, Dirk" userId="be71dc4c-a1ab-4d0b-926c-9e6c8d0cf5b0" providerId="ADAL" clId="{7C525FD4-0803-4512-A428-64732F6C0BD2}" dt="2023-03-06T15:07:11.175" v="702" actId="47"/>
        <pc:sldMkLst>
          <pc:docMk/>
          <pc:sldMk cId="2921814102" sldId="2147327078"/>
        </pc:sldMkLst>
        <pc:spChg chg="add mod">
          <ac:chgData name="Hebel, Dirk" userId="be71dc4c-a1ab-4d0b-926c-9e6c8d0cf5b0" providerId="ADAL" clId="{7C525FD4-0803-4512-A428-64732F6C0BD2}" dt="2023-03-06T15:06:00.924" v="696" actId="6549"/>
          <ac:spMkLst>
            <pc:docMk/>
            <pc:sldMk cId="2921814102" sldId="2147327078"/>
            <ac:spMk id="11" creationId="{E408FD70-83EF-A46D-A8EA-C58484C1C8A7}"/>
          </ac:spMkLst>
        </pc:spChg>
      </pc:sldChg>
      <pc:sldChg chg="modSp add mod">
        <pc:chgData name="Hebel, Dirk" userId="be71dc4c-a1ab-4d0b-926c-9e6c8d0cf5b0" providerId="ADAL" clId="{7C525FD4-0803-4512-A428-64732F6C0BD2}" dt="2023-03-06T15:28:10.395" v="1348" actId="5793"/>
        <pc:sldMkLst>
          <pc:docMk/>
          <pc:sldMk cId="1921530647" sldId="2147327079"/>
        </pc:sldMkLst>
        <pc:spChg chg="mod">
          <ac:chgData name="Hebel, Dirk" userId="be71dc4c-a1ab-4d0b-926c-9e6c8d0cf5b0" providerId="ADAL" clId="{7C525FD4-0803-4512-A428-64732F6C0BD2}" dt="2023-03-06T15:27:56.350" v="1295" actId="6549"/>
          <ac:spMkLst>
            <pc:docMk/>
            <pc:sldMk cId="1921530647" sldId="2147327079"/>
            <ac:spMk id="5" creationId="{476902A7-47D4-AD9D-BA16-72D67A9D42AC}"/>
          </ac:spMkLst>
        </pc:spChg>
        <pc:spChg chg="mod">
          <ac:chgData name="Hebel, Dirk" userId="be71dc4c-a1ab-4d0b-926c-9e6c8d0cf5b0" providerId="ADAL" clId="{7C525FD4-0803-4512-A428-64732F6C0BD2}" dt="2023-03-06T15:28:10.395" v="1348" actId="5793"/>
          <ac:spMkLst>
            <pc:docMk/>
            <pc:sldMk cId="1921530647" sldId="2147327079"/>
            <ac:spMk id="6" creationId="{9F185C13-1625-21A9-4470-2E9BD6DEF79F}"/>
          </ac:spMkLst>
        </pc:spChg>
      </pc:sldChg>
      <pc:sldMasterChg chg="addSp delSp modSp mod modSldLayout">
        <pc:chgData name="Hebel, Dirk" userId="be71dc4c-a1ab-4d0b-926c-9e6c8d0cf5b0" providerId="ADAL" clId="{7C525FD4-0803-4512-A428-64732F6C0BD2}" dt="2023-03-06T14:40:51.208" v="224"/>
        <pc:sldMasterMkLst>
          <pc:docMk/>
          <pc:sldMasterMk cId="105975586" sldId="2147483648"/>
        </pc:sldMasterMkLst>
        <pc:spChg chg="del">
          <ac:chgData name="Hebel, Dirk" userId="be71dc4c-a1ab-4d0b-926c-9e6c8d0cf5b0" providerId="ADAL" clId="{7C525FD4-0803-4512-A428-64732F6C0BD2}" dt="2023-03-06T14:31:44.269" v="182" actId="478"/>
          <ac:spMkLst>
            <pc:docMk/>
            <pc:sldMasterMk cId="105975586" sldId="2147483648"/>
            <ac:spMk id="4" creationId="{D05D3E40-CAE2-3445-BA8E-F6A83FC2ADB9}"/>
          </ac:spMkLst>
        </pc:spChg>
        <pc:spChg chg="del">
          <ac:chgData name="Hebel, Dirk" userId="be71dc4c-a1ab-4d0b-926c-9e6c8d0cf5b0" providerId="ADAL" clId="{7C525FD4-0803-4512-A428-64732F6C0BD2}" dt="2023-03-06T14:31:44.269" v="182" actId="478"/>
          <ac:spMkLst>
            <pc:docMk/>
            <pc:sldMasterMk cId="105975586" sldId="2147483648"/>
            <ac:spMk id="5" creationId="{64804764-C31F-4B4D-9BF9-E8B860250CAA}"/>
          </ac:spMkLst>
        </pc:spChg>
        <pc:picChg chg="add del mod">
          <ac:chgData name="Hebel, Dirk" userId="be71dc4c-a1ab-4d0b-926c-9e6c8d0cf5b0" providerId="ADAL" clId="{7C525FD4-0803-4512-A428-64732F6C0BD2}" dt="2023-03-06T14:33:26.040" v="202" actId="478"/>
          <ac:picMkLst>
            <pc:docMk/>
            <pc:sldMasterMk cId="105975586" sldId="2147483648"/>
            <ac:picMk id="2" creationId="{F15EF7F7-26EB-D924-7412-9A6FCADF9FDA}"/>
          </ac:picMkLst>
        </pc:picChg>
        <pc:picChg chg="add mod">
          <ac:chgData name="Hebel, Dirk" userId="be71dc4c-a1ab-4d0b-926c-9e6c8d0cf5b0" providerId="ADAL" clId="{7C525FD4-0803-4512-A428-64732F6C0BD2}" dt="2023-03-06T14:33:26.771" v="203"/>
          <ac:picMkLst>
            <pc:docMk/>
            <pc:sldMasterMk cId="105975586" sldId="2147483648"/>
            <ac:picMk id="8" creationId="{3B59E458-94B1-5D74-9793-044151F3A5BA}"/>
          </ac:picMkLst>
        </pc:picChg>
        <pc:sldLayoutChg chg="delSp mod">
          <pc:chgData name="Hebel, Dirk" userId="be71dc4c-a1ab-4d0b-926c-9e6c8d0cf5b0" providerId="ADAL" clId="{7C525FD4-0803-4512-A428-64732F6C0BD2}" dt="2023-03-06T14:31:52.221" v="183" actId="478"/>
          <pc:sldLayoutMkLst>
            <pc:docMk/>
            <pc:sldMasterMk cId="105975586" sldId="2147483648"/>
            <pc:sldLayoutMk cId="3475505964" sldId="2147483651"/>
          </pc:sldLayoutMkLst>
          <pc:spChg chg="del">
            <ac:chgData name="Hebel, Dirk" userId="be71dc4c-a1ab-4d0b-926c-9e6c8d0cf5b0" providerId="ADAL" clId="{7C525FD4-0803-4512-A428-64732F6C0BD2}" dt="2023-03-06T14:31:52.221" v="183" actId="478"/>
            <ac:spMkLst>
              <pc:docMk/>
              <pc:sldMasterMk cId="105975586" sldId="2147483648"/>
              <pc:sldLayoutMk cId="3475505964" sldId="2147483651"/>
              <ac:spMk id="4" creationId="{500DDFE7-0C2E-3F4E-8FA9-0DAF2A35DCAB}"/>
            </ac:spMkLst>
          </pc:spChg>
          <pc:spChg chg="del">
            <ac:chgData name="Hebel, Dirk" userId="be71dc4c-a1ab-4d0b-926c-9e6c8d0cf5b0" providerId="ADAL" clId="{7C525FD4-0803-4512-A428-64732F6C0BD2}" dt="2023-03-06T14:31:52.221" v="183" actId="478"/>
            <ac:spMkLst>
              <pc:docMk/>
              <pc:sldMasterMk cId="105975586" sldId="2147483648"/>
              <pc:sldLayoutMk cId="3475505964" sldId="2147483651"/>
              <ac:spMk id="5" creationId="{20CB5C73-8393-DF43-A678-0CB728CE847D}"/>
            </ac:spMkLst>
          </pc:spChg>
        </pc:sldLayoutChg>
        <pc:sldLayoutChg chg="delSp mod">
          <pc:chgData name="Hebel, Dirk" userId="be71dc4c-a1ab-4d0b-926c-9e6c8d0cf5b0" providerId="ADAL" clId="{7C525FD4-0803-4512-A428-64732F6C0BD2}" dt="2023-03-06T14:31:53.564" v="184" actId="478"/>
          <pc:sldLayoutMkLst>
            <pc:docMk/>
            <pc:sldMasterMk cId="105975586" sldId="2147483648"/>
            <pc:sldLayoutMk cId="2788345788" sldId="2147483652"/>
          </pc:sldLayoutMkLst>
          <pc:spChg chg="del">
            <ac:chgData name="Hebel, Dirk" userId="be71dc4c-a1ab-4d0b-926c-9e6c8d0cf5b0" providerId="ADAL" clId="{7C525FD4-0803-4512-A428-64732F6C0BD2}" dt="2023-03-06T14:31:53.564" v="184" actId="478"/>
            <ac:spMkLst>
              <pc:docMk/>
              <pc:sldMasterMk cId="105975586" sldId="2147483648"/>
              <pc:sldLayoutMk cId="2788345788" sldId="2147483652"/>
              <ac:spMk id="4" creationId="{24DD605F-C7FA-D44D-AFD8-0E686475C061}"/>
            </ac:spMkLst>
          </pc:spChg>
          <pc:spChg chg="del">
            <ac:chgData name="Hebel, Dirk" userId="be71dc4c-a1ab-4d0b-926c-9e6c8d0cf5b0" providerId="ADAL" clId="{7C525FD4-0803-4512-A428-64732F6C0BD2}" dt="2023-03-06T14:31:53.564" v="184" actId="478"/>
            <ac:spMkLst>
              <pc:docMk/>
              <pc:sldMasterMk cId="105975586" sldId="2147483648"/>
              <pc:sldLayoutMk cId="2788345788" sldId="2147483652"/>
              <ac:spMk id="5" creationId="{482D41B5-0D68-7841-B752-C9C5103D3E20}"/>
            </ac:spMkLst>
          </pc:spChg>
          <pc:picChg chg="del">
            <ac:chgData name="Hebel, Dirk" userId="be71dc4c-a1ab-4d0b-926c-9e6c8d0cf5b0" providerId="ADAL" clId="{7C525FD4-0803-4512-A428-64732F6C0BD2}" dt="2023-03-06T14:31:22.048" v="175" actId="478"/>
            <ac:picMkLst>
              <pc:docMk/>
              <pc:sldMasterMk cId="105975586" sldId="2147483648"/>
              <pc:sldLayoutMk cId="2788345788" sldId="2147483652"/>
              <ac:picMk id="11" creationId="{DDD64C62-9DCA-F84D-9D47-B3F7805E8F63}"/>
            </ac:picMkLst>
          </pc:picChg>
        </pc:sldLayoutChg>
        <pc:sldLayoutChg chg="delSp mod">
          <pc:chgData name="Hebel, Dirk" userId="be71dc4c-a1ab-4d0b-926c-9e6c8d0cf5b0" providerId="ADAL" clId="{7C525FD4-0803-4512-A428-64732F6C0BD2}" dt="2023-03-06T14:31:57.534" v="186" actId="478"/>
          <pc:sldLayoutMkLst>
            <pc:docMk/>
            <pc:sldMasterMk cId="105975586" sldId="2147483648"/>
            <pc:sldLayoutMk cId="1095941512" sldId="2147483653"/>
          </pc:sldLayoutMkLst>
          <pc:spChg chg="del">
            <ac:chgData name="Hebel, Dirk" userId="be71dc4c-a1ab-4d0b-926c-9e6c8d0cf5b0" providerId="ADAL" clId="{7C525FD4-0803-4512-A428-64732F6C0BD2}" dt="2023-03-06T14:31:57.534" v="186" actId="478"/>
            <ac:spMkLst>
              <pc:docMk/>
              <pc:sldMasterMk cId="105975586" sldId="2147483648"/>
              <pc:sldLayoutMk cId="1095941512" sldId="2147483653"/>
              <ac:spMk id="4" creationId="{24DD605F-C7FA-D44D-AFD8-0E686475C061}"/>
            </ac:spMkLst>
          </pc:spChg>
          <pc:spChg chg="del">
            <ac:chgData name="Hebel, Dirk" userId="be71dc4c-a1ab-4d0b-926c-9e6c8d0cf5b0" providerId="ADAL" clId="{7C525FD4-0803-4512-A428-64732F6C0BD2}" dt="2023-03-06T14:31:57.534" v="186" actId="478"/>
            <ac:spMkLst>
              <pc:docMk/>
              <pc:sldMasterMk cId="105975586" sldId="2147483648"/>
              <pc:sldLayoutMk cId="1095941512" sldId="2147483653"/>
              <ac:spMk id="5" creationId="{482D41B5-0D68-7841-B752-C9C5103D3E20}"/>
            </ac:spMkLst>
          </pc:spChg>
          <pc:picChg chg="del">
            <ac:chgData name="Hebel, Dirk" userId="be71dc4c-a1ab-4d0b-926c-9e6c8d0cf5b0" providerId="ADAL" clId="{7C525FD4-0803-4512-A428-64732F6C0BD2}" dt="2023-03-06T14:31:24.441" v="177" actId="478"/>
            <ac:picMkLst>
              <pc:docMk/>
              <pc:sldMasterMk cId="105975586" sldId="2147483648"/>
              <pc:sldLayoutMk cId="1095941512" sldId="2147483653"/>
              <ac:picMk id="10" creationId="{1EA952E1-8386-CD43-894D-80FDE7717794}"/>
            </ac:picMkLst>
          </pc:picChg>
        </pc:sldLayoutChg>
        <pc:sldLayoutChg chg="delSp mod">
          <pc:chgData name="Hebel, Dirk" userId="be71dc4c-a1ab-4d0b-926c-9e6c8d0cf5b0" providerId="ADAL" clId="{7C525FD4-0803-4512-A428-64732F6C0BD2}" dt="2023-03-06T14:32:04.339" v="187" actId="478"/>
          <pc:sldLayoutMkLst>
            <pc:docMk/>
            <pc:sldMasterMk cId="105975586" sldId="2147483648"/>
            <pc:sldLayoutMk cId="3357071682" sldId="2147483661"/>
          </pc:sldLayoutMkLst>
          <pc:spChg chg="del">
            <ac:chgData name="Hebel, Dirk" userId="be71dc4c-a1ab-4d0b-926c-9e6c8d0cf5b0" providerId="ADAL" clId="{7C525FD4-0803-4512-A428-64732F6C0BD2}" dt="2023-03-06T14:32:04.339" v="187" actId="478"/>
            <ac:spMkLst>
              <pc:docMk/>
              <pc:sldMasterMk cId="105975586" sldId="2147483648"/>
              <pc:sldLayoutMk cId="3357071682" sldId="2147483661"/>
              <ac:spMk id="3" creationId="{63321F5F-34F6-BB41-8EFD-251D808E40BD}"/>
            </ac:spMkLst>
          </pc:spChg>
          <pc:spChg chg="del">
            <ac:chgData name="Hebel, Dirk" userId="be71dc4c-a1ab-4d0b-926c-9e6c8d0cf5b0" providerId="ADAL" clId="{7C525FD4-0803-4512-A428-64732F6C0BD2}" dt="2023-03-06T14:32:04.339" v="187" actId="478"/>
            <ac:spMkLst>
              <pc:docMk/>
              <pc:sldMasterMk cId="105975586" sldId="2147483648"/>
              <pc:sldLayoutMk cId="3357071682" sldId="2147483661"/>
              <ac:spMk id="4" creationId="{D6908AC6-AB97-6948-A9A4-3F87DFDBFB92}"/>
            </ac:spMkLst>
          </pc:spChg>
          <pc:picChg chg="del">
            <ac:chgData name="Hebel, Dirk" userId="be71dc4c-a1ab-4d0b-926c-9e6c8d0cf5b0" providerId="ADAL" clId="{7C525FD4-0803-4512-A428-64732F6C0BD2}" dt="2023-03-06T14:31:25.920" v="179" actId="478"/>
            <ac:picMkLst>
              <pc:docMk/>
              <pc:sldMasterMk cId="105975586" sldId="2147483648"/>
              <pc:sldLayoutMk cId="3357071682" sldId="2147483661"/>
              <ac:picMk id="9" creationId="{C1C310B4-7D59-B34F-BEE4-6550E69DFBDA}"/>
            </ac:picMkLst>
          </pc:picChg>
        </pc:sldLayoutChg>
        <pc:sldLayoutChg chg="delSp mod">
          <pc:chgData name="Hebel, Dirk" userId="be71dc4c-a1ab-4d0b-926c-9e6c8d0cf5b0" providerId="ADAL" clId="{7C525FD4-0803-4512-A428-64732F6C0BD2}" dt="2023-03-06T14:32:12.665" v="191" actId="478"/>
          <pc:sldLayoutMkLst>
            <pc:docMk/>
            <pc:sldMasterMk cId="105975586" sldId="2147483648"/>
            <pc:sldLayoutMk cId="2138126642" sldId="2147483663"/>
          </pc:sldLayoutMkLst>
          <pc:spChg chg="del">
            <ac:chgData name="Hebel, Dirk" userId="be71dc4c-a1ab-4d0b-926c-9e6c8d0cf5b0" providerId="ADAL" clId="{7C525FD4-0803-4512-A428-64732F6C0BD2}" dt="2023-03-06T14:32:12.665" v="191" actId="478"/>
            <ac:spMkLst>
              <pc:docMk/>
              <pc:sldMasterMk cId="105975586" sldId="2147483648"/>
              <pc:sldLayoutMk cId="2138126642" sldId="2147483663"/>
              <ac:spMk id="4" creationId="{24DD605F-C7FA-D44D-AFD8-0E686475C061}"/>
            </ac:spMkLst>
          </pc:spChg>
          <pc:spChg chg="del">
            <ac:chgData name="Hebel, Dirk" userId="be71dc4c-a1ab-4d0b-926c-9e6c8d0cf5b0" providerId="ADAL" clId="{7C525FD4-0803-4512-A428-64732F6C0BD2}" dt="2023-03-06T14:32:12.665" v="191" actId="478"/>
            <ac:spMkLst>
              <pc:docMk/>
              <pc:sldMasterMk cId="105975586" sldId="2147483648"/>
              <pc:sldLayoutMk cId="2138126642" sldId="2147483663"/>
              <ac:spMk id="5" creationId="{482D41B5-0D68-7841-B752-C9C5103D3E20}"/>
            </ac:spMkLst>
          </pc:spChg>
          <pc:picChg chg="del">
            <ac:chgData name="Hebel, Dirk" userId="be71dc4c-a1ab-4d0b-926c-9e6c8d0cf5b0" providerId="ADAL" clId="{7C525FD4-0803-4512-A428-64732F6C0BD2}" dt="2023-03-06T14:31:27.993" v="181" actId="478"/>
            <ac:picMkLst>
              <pc:docMk/>
              <pc:sldMasterMk cId="105975586" sldId="2147483648"/>
              <pc:sldLayoutMk cId="2138126642" sldId="2147483663"/>
              <ac:picMk id="9" creationId="{E2996D43-8BAC-AD4E-B53E-B09CC91DA719}"/>
            </ac:picMkLst>
          </pc:picChg>
        </pc:sldLayoutChg>
        <pc:sldLayoutChg chg="delSp modSp mod">
          <pc:chgData name="Hebel, Dirk" userId="be71dc4c-a1ab-4d0b-926c-9e6c8d0cf5b0" providerId="ADAL" clId="{7C525FD4-0803-4512-A428-64732F6C0BD2}" dt="2023-03-06T14:32:11.236" v="190" actId="478"/>
          <pc:sldLayoutMkLst>
            <pc:docMk/>
            <pc:sldMasterMk cId="105975586" sldId="2147483648"/>
            <pc:sldLayoutMk cId="1601247768" sldId="2147483664"/>
          </pc:sldLayoutMkLst>
          <pc:spChg chg="del mod">
            <ac:chgData name="Hebel, Dirk" userId="be71dc4c-a1ab-4d0b-926c-9e6c8d0cf5b0" providerId="ADAL" clId="{7C525FD4-0803-4512-A428-64732F6C0BD2}" dt="2023-03-06T14:32:11.236" v="190" actId="478"/>
            <ac:spMkLst>
              <pc:docMk/>
              <pc:sldMasterMk cId="105975586" sldId="2147483648"/>
              <pc:sldLayoutMk cId="1601247768" sldId="2147483664"/>
              <ac:spMk id="4" creationId="{24DD605F-C7FA-D44D-AFD8-0E686475C061}"/>
            </ac:spMkLst>
          </pc:spChg>
          <pc:spChg chg="del">
            <ac:chgData name="Hebel, Dirk" userId="be71dc4c-a1ab-4d0b-926c-9e6c8d0cf5b0" providerId="ADAL" clId="{7C525FD4-0803-4512-A428-64732F6C0BD2}" dt="2023-03-06T14:32:11.236" v="190" actId="478"/>
            <ac:spMkLst>
              <pc:docMk/>
              <pc:sldMasterMk cId="105975586" sldId="2147483648"/>
              <pc:sldLayoutMk cId="1601247768" sldId="2147483664"/>
              <ac:spMk id="5" creationId="{482D41B5-0D68-7841-B752-C9C5103D3E20}"/>
            </ac:spMkLst>
          </pc:spChg>
          <pc:picChg chg="del">
            <ac:chgData name="Hebel, Dirk" userId="be71dc4c-a1ab-4d0b-926c-9e6c8d0cf5b0" providerId="ADAL" clId="{7C525FD4-0803-4512-A428-64732F6C0BD2}" dt="2023-03-06T14:31:27.232" v="180" actId="478"/>
            <ac:picMkLst>
              <pc:docMk/>
              <pc:sldMasterMk cId="105975586" sldId="2147483648"/>
              <pc:sldLayoutMk cId="1601247768" sldId="2147483664"/>
              <ac:picMk id="9" creationId="{5EB36EE2-1B0B-F649-BEA2-36F5394675CB}"/>
            </ac:picMkLst>
          </pc:picChg>
        </pc:sldLayoutChg>
        <pc:sldLayoutChg chg="delSp mod">
          <pc:chgData name="Hebel, Dirk" userId="be71dc4c-a1ab-4d0b-926c-9e6c8d0cf5b0" providerId="ADAL" clId="{7C525FD4-0803-4512-A428-64732F6C0BD2}" dt="2023-03-06T14:31:55.504" v="185" actId="478"/>
          <pc:sldLayoutMkLst>
            <pc:docMk/>
            <pc:sldMasterMk cId="105975586" sldId="2147483648"/>
            <pc:sldLayoutMk cId="720919350" sldId="2147483665"/>
          </pc:sldLayoutMkLst>
          <pc:spChg chg="del">
            <ac:chgData name="Hebel, Dirk" userId="be71dc4c-a1ab-4d0b-926c-9e6c8d0cf5b0" providerId="ADAL" clId="{7C525FD4-0803-4512-A428-64732F6C0BD2}" dt="2023-03-06T14:31:55.504" v="185" actId="478"/>
            <ac:spMkLst>
              <pc:docMk/>
              <pc:sldMasterMk cId="105975586" sldId="2147483648"/>
              <pc:sldLayoutMk cId="720919350" sldId="2147483665"/>
              <ac:spMk id="4" creationId="{24DD605F-C7FA-D44D-AFD8-0E686475C061}"/>
            </ac:spMkLst>
          </pc:spChg>
          <pc:spChg chg="del">
            <ac:chgData name="Hebel, Dirk" userId="be71dc4c-a1ab-4d0b-926c-9e6c8d0cf5b0" providerId="ADAL" clId="{7C525FD4-0803-4512-A428-64732F6C0BD2}" dt="2023-03-06T14:31:55.504" v="185" actId="478"/>
            <ac:spMkLst>
              <pc:docMk/>
              <pc:sldMasterMk cId="105975586" sldId="2147483648"/>
              <pc:sldLayoutMk cId="720919350" sldId="2147483665"/>
              <ac:spMk id="5" creationId="{482D41B5-0D68-7841-B752-C9C5103D3E20}"/>
            </ac:spMkLst>
          </pc:spChg>
          <pc:picChg chg="del">
            <ac:chgData name="Hebel, Dirk" userId="be71dc4c-a1ab-4d0b-926c-9e6c8d0cf5b0" providerId="ADAL" clId="{7C525FD4-0803-4512-A428-64732F6C0BD2}" dt="2023-03-06T14:31:23.458" v="176" actId="478"/>
            <ac:picMkLst>
              <pc:docMk/>
              <pc:sldMasterMk cId="105975586" sldId="2147483648"/>
              <pc:sldLayoutMk cId="720919350" sldId="2147483665"/>
              <ac:picMk id="9" creationId="{A8E09553-9831-394F-AB14-CD3149E20F3A}"/>
            </ac:picMkLst>
          </pc:picChg>
        </pc:sldLayoutChg>
        <pc:sldLayoutChg chg="delSp mod">
          <pc:chgData name="Hebel, Dirk" userId="be71dc4c-a1ab-4d0b-926c-9e6c8d0cf5b0" providerId="ADAL" clId="{7C525FD4-0803-4512-A428-64732F6C0BD2}" dt="2023-03-06T14:32:07.157" v="188" actId="478"/>
          <pc:sldLayoutMkLst>
            <pc:docMk/>
            <pc:sldMasterMk cId="105975586" sldId="2147483648"/>
            <pc:sldLayoutMk cId="2614323984" sldId="2147483666"/>
          </pc:sldLayoutMkLst>
          <pc:spChg chg="del">
            <ac:chgData name="Hebel, Dirk" userId="be71dc4c-a1ab-4d0b-926c-9e6c8d0cf5b0" providerId="ADAL" clId="{7C525FD4-0803-4512-A428-64732F6C0BD2}" dt="2023-03-06T14:32:07.157" v="188" actId="478"/>
            <ac:spMkLst>
              <pc:docMk/>
              <pc:sldMasterMk cId="105975586" sldId="2147483648"/>
              <pc:sldLayoutMk cId="2614323984" sldId="2147483666"/>
              <ac:spMk id="3" creationId="{63321F5F-34F6-BB41-8EFD-251D808E40BD}"/>
            </ac:spMkLst>
          </pc:spChg>
          <pc:spChg chg="del">
            <ac:chgData name="Hebel, Dirk" userId="be71dc4c-a1ab-4d0b-926c-9e6c8d0cf5b0" providerId="ADAL" clId="{7C525FD4-0803-4512-A428-64732F6C0BD2}" dt="2023-03-06T14:32:07.157" v="188" actId="478"/>
            <ac:spMkLst>
              <pc:docMk/>
              <pc:sldMasterMk cId="105975586" sldId="2147483648"/>
              <pc:sldLayoutMk cId="2614323984" sldId="2147483666"/>
              <ac:spMk id="4" creationId="{D6908AC6-AB97-6948-A9A4-3F87DFDBFB92}"/>
            </ac:spMkLst>
          </pc:spChg>
          <pc:picChg chg="del">
            <ac:chgData name="Hebel, Dirk" userId="be71dc4c-a1ab-4d0b-926c-9e6c8d0cf5b0" providerId="ADAL" clId="{7C525FD4-0803-4512-A428-64732F6C0BD2}" dt="2023-03-06T14:31:25.131" v="178" actId="478"/>
            <ac:picMkLst>
              <pc:docMk/>
              <pc:sldMasterMk cId="105975586" sldId="2147483648"/>
              <pc:sldLayoutMk cId="2614323984" sldId="2147483666"/>
              <ac:picMk id="9" creationId="{C1C310B4-7D59-B34F-BEE4-6550E69DFBDA}"/>
            </ac:picMkLst>
          </pc:picChg>
        </pc:sldLayoutChg>
        <pc:sldLayoutChg chg="addSp modSp">
          <pc:chgData name="Hebel, Dirk" userId="be71dc4c-a1ab-4d0b-926c-9e6c8d0cf5b0" providerId="ADAL" clId="{7C525FD4-0803-4512-A428-64732F6C0BD2}" dt="2023-03-06T14:40:51.208" v="224"/>
          <pc:sldLayoutMkLst>
            <pc:docMk/>
            <pc:sldMasterMk cId="105975586" sldId="2147483648"/>
            <pc:sldLayoutMk cId="4219804133" sldId="2147483667"/>
          </pc:sldLayoutMkLst>
          <pc:spChg chg="add mod">
            <ac:chgData name="Hebel, Dirk" userId="be71dc4c-a1ab-4d0b-926c-9e6c8d0cf5b0" providerId="ADAL" clId="{7C525FD4-0803-4512-A428-64732F6C0BD2}" dt="2023-03-06T14:40:51.208" v="224"/>
            <ac:spMkLst>
              <pc:docMk/>
              <pc:sldMasterMk cId="105975586" sldId="2147483648"/>
              <pc:sldLayoutMk cId="4219804133" sldId="2147483667"/>
              <ac:spMk id="4" creationId="{79E80688-C15F-9EB8-B133-A44714954EA6}"/>
            </ac:spMkLst>
          </pc:spChg>
        </pc:sldLayoutChg>
      </pc:sldMasterChg>
      <pc:sldMasterChg chg="delSp mod modSldLayout">
        <pc:chgData name="Hebel, Dirk" userId="be71dc4c-a1ab-4d0b-926c-9e6c8d0cf5b0" providerId="ADAL" clId="{7C525FD4-0803-4512-A428-64732F6C0BD2}" dt="2023-03-06T14:32:18.143" v="194" actId="478"/>
        <pc:sldMasterMkLst>
          <pc:docMk/>
          <pc:sldMasterMk cId="4187452816" sldId="2147483657"/>
        </pc:sldMasterMkLst>
        <pc:spChg chg="del">
          <ac:chgData name="Hebel, Dirk" userId="be71dc4c-a1ab-4d0b-926c-9e6c8d0cf5b0" providerId="ADAL" clId="{7C525FD4-0803-4512-A428-64732F6C0BD2}" dt="2023-03-06T14:32:15.160" v="192" actId="478"/>
          <ac:spMkLst>
            <pc:docMk/>
            <pc:sldMasterMk cId="4187452816" sldId="2147483657"/>
            <ac:spMk id="5" creationId="{4EAE6DFF-7425-6443-BA6F-015829A0914B}"/>
          </ac:spMkLst>
        </pc:spChg>
        <pc:spChg chg="del">
          <ac:chgData name="Hebel, Dirk" userId="be71dc4c-a1ab-4d0b-926c-9e6c8d0cf5b0" providerId="ADAL" clId="{7C525FD4-0803-4512-A428-64732F6C0BD2}" dt="2023-03-06T14:32:15.160" v="192" actId="478"/>
          <ac:spMkLst>
            <pc:docMk/>
            <pc:sldMasterMk cId="4187452816" sldId="2147483657"/>
            <ac:spMk id="10" creationId="{05A146D1-A4D6-2B40-ACC9-C79FB1641FC3}"/>
          </ac:spMkLst>
        </pc:spChg>
        <pc:sldLayoutChg chg="delSp mod">
          <pc:chgData name="Hebel, Dirk" userId="be71dc4c-a1ab-4d0b-926c-9e6c8d0cf5b0" providerId="ADAL" clId="{7C525FD4-0803-4512-A428-64732F6C0BD2}" dt="2023-03-06T14:32:16.568" v="193" actId="478"/>
          <pc:sldLayoutMkLst>
            <pc:docMk/>
            <pc:sldMasterMk cId="4187452816" sldId="2147483657"/>
            <pc:sldLayoutMk cId="3914558232" sldId="2147483659"/>
          </pc:sldLayoutMkLst>
          <pc:spChg chg="del">
            <ac:chgData name="Hebel, Dirk" userId="be71dc4c-a1ab-4d0b-926c-9e6c8d0cf5b0" providerId="ADAL" clId="{7C525FD4-0803-4512-A428-64732F6C0BD2}" dt="2023-03-06T14:32:16.568" v="193" actId="478"/>
            <ac:spMkLst>
              <pc:docMk/>
              <pc:sldMasterMk cId="4187452816" sldId="2147483657"/>
              <pc:sldLayoutMk cId="3914558232" sldId="2147483659"/>
              <ac:spMk id="3" creationId="{6A36031F-4F5C-004A-B807-2FAB31CB3A87}"/>
            </ac:spMkLst>
          </pc:spChg>
          <pc:spChg chg="del">
            <ac:chgData name="Hebel, Dirk" userId="be71dc4c-a1ab-4d0b-926c-9e6c8d0cf5b0" providerId="ADAL" clId="{7C525FD4-0803-4512-A428-64732F6C0BD2}" dt="2023-03-06T14:32:16.568" v="193" actId="478"/>
            <ac:spMkLst>
              <pc:docMk/>
              <pc:sldMasterMk cId="4187452816" sldId="2147483657"/>
              <pc:sldLayoutMk cId="3914558232" sldId="2147483659"/>
              <ac:spMk id="6" creationId="{4D614F01-CAE4-A746-A349-E6A0F87952EA}"/>
            </ac:spMkLst>
          </pc:spChg>
        </pc:sldLayoutChg>
        <pc:sldLayoutChg chg="delSp mod">
          <pc:chgData name="Hebel, Dirk" userId="be71dc4c-a1ab-4d0b-926c-9e6c8d0cf5b0" providerId="ADAL" clId="{7C525FD4-0803-4512-A428-64732F6C0BD2}" dt="2023-03-06T14:32:18.143" v="194" actId="478"/>
          <pc:sldLayoutMkLst>
            <pc:docMk/>
            <pc:sldMasterMk cId="4187452816" sldId="2147483657"/>
            <pc:sldLayoutMk cId="431055838" sldId="2147483660"/>
          </pc:sldLayoutMkLst>
          <pc:spChg chg="del">
            <ac:chgData name="Hebel, Dirk" userId="be71dc4c-a1ab-4d0b-926c-9e6c8d0cf5b0" providerId="ADAL" clId="{7C525FD4-0803-4512-A428-64732F6C0BD2}" dt="2023-03-06T14:32:18.143" v="194" actId="478"/>
            <ac:spMkLst>
              <pc:docMk/>
              <pc:sldMasterMk cId="4187452816" sldId="2147483657"/>
              <pc:sldLayoutMk cId="431055838" sldId="2147483660"/>
              <ac:spMk id="3" creationId="{7CD12C7D-8F1E-4D4E-822A-49068F193CA1}"/>
            </ac:spMkLst>
          </pc:spChg>
          <pc:spChg chg="del">
            <ac:chgData name="Hebel, Dirk" userId="be71dc4c-a1ab-4d0b-926c-9e6c8d0cf5b0" providerId="ADAL" clId="{7C525FD4-0803-4512-A428-64732F6C0BD2}" dt="2023-03-06T14:32:18.143" v="194" actId="478"/>
            <ac:spMkLst>
              <pc:docMk/>
              <pc:sldMasterMk cId="4187452816" sldId="2147483657"/>
              <pc:sldLayoutMk cId="431055838" sldId="2147483660"/>
              <ac:spMk id="19" creationId="{631D3222-6231-A243-84A8-DC03B6A7579B}"/>
            </ac:spMkLst>
          </pc:spChg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AE3FEE-1CC3-8A42-B16F-22650284B6F8}" type="datetimeFigureOut">
              <a:rPr lang="de-DE" smtClean="0"/>
              <a:t>22.11.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A7A8E3-216A-8F43-B652-ED7E30B4117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71321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7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892" algn="l" defTabSz="6857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783" algn="l" defTabSz="6857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675" algn="l" defTabSz="6857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566" algn="l" defTabSz="6857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457" algn="l" defTabSz="6857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348" algn="l" defTabSz="6857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240" algn="l" defTabSz="6857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132" algn="l" defTabSz="6857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A7A8E3-216A-8F43-B652-ED7E30B4117E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689477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83EBA5-A025-EE15-A297-2A7E7215E4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7738D5FD-016A-3506-AAE9-4964ECF28E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BAE9F695-4E33-5DE2-6414-29953E77AA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297823B-F222-4C75-D267-F961570B2E7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A10422-CCF2-1341-95F4-460806098DB1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651255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121F58-0ECE-4D1F-AE2C-DB060B17C3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A8877C98-7B7F-96FD-A8EE-FD56F654FC1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849D543E-5719-F395-E70C-FF6856894E7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90EB855-3A26-E9EB-7EC2-8D97D26672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A10422-CCF2-1341-95F4-460806098DB1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775358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r>
              <a:rPr lang="en-US" dirty="0"/>
              <a:t>Thank you very much for your interest in LADS OPC UA , </a:t>
            </a:r>
          </a:p>
          <a:p>
            <a:r>
              <a:rPr lang="en-US" dirty="0"/>
              <a:t>The Laboratory and Analytical Device Standard</a:t>
            </a:r>
          </a:p>
          <a:p>
            <a:endParaRPr lang="en-US" dirty="0"/>
          </a:p>
          <a:p>
            <a:r>
              <a:rPr lang="en-US" dirty="0"/>
              <a:t>I’m happy to receive your feedback, discuss your comments and answer your questions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A10422-CCF2-1341-95F4-460806098DB1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2455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A10422-CCF2-1341-95F4-460806098DB1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55367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89BB41-163A-8881-8B7C-D4D80D5E87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1DF09C48-70A3-D7E2-0D7D-4A771B7820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B64B162C-8F3E-E1CA-FBA9-7AF1E6432C9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D38CEAC-7982-6F78-D4B3-390ED8768C2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A10422-CCF2-1341-95F4-460806098DB1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75383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9DFD55-D3BA-6E0F-1BCA-72C68AD360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B6280B3A-8C52-0FFA-B9CD-CDCF1419F09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F71207FC-4044-775B-861B-7AFB0106A1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8A1EC14-8ADE-5657-E9CE-DD8643E0ACB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A10422-CCF2-1341-95F4-460806098DB1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84223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C149DD-0C89-81DE-411E-DE942AC88E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ADE9B9A-5CF7-7F28-6A0F-1F42ED9E299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7A5A4E1C-A5B1-0ADD-B246-EDA5BFD5DE9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67BE31B-D374-F674-97DC-99A76DE9EE5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A10422-CCF2-1341-95F4-460806098DB1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04537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F60066-18FF-0DB2-1CB2-3C77B88E3A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E7E6A7F-024E-668C-19FC-41E9FC38E0B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682AE07-C214-0D7B-FC46-07C6C40626D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80F10C1-A0A7-9611-895C-4F8309204BB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A10422-CCF2-1341-95F4-460806098DB1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75561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1FE06E-332F-B002-9355-C2DB0143D1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EE428517-BA40-9635-4B87-4BA5641E193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E7648B88-2A3F-1AB8-8D9C-DE40F61ADD8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FD0636B-91C9-E03E-3C3A-BA7C4E560DE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A10422-CCF2-1341-95F4-460806098DB1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07767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00E450-3ED8-BB13-D21D-DC8FBBCE1B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1A61A02C-725E-5F1F-CDB9-024F881FE3C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CC81CAF-9036-13A0-6D29-46B7EB41988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816EA99-89ED-0A34-1708-58757A0511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A10422-CCF2-1341-95F4-460806098DB1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765133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7B77E4-EFE1-49F9-C961-43D2A7F565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33ADDAE2-7A94-9E80-70C0-F5A05F02FCB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0F5A443-D154-C5D9-8AD0-851507E2981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317C3AC-6E5E-D280-FA54-069FEFE4ACC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A10422-CCF2-1341-95F4-460806098DB1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07276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>
            <a:extLst>
              <a:ext uri="{FF2B5EF4-FFF2-40B4-BE49-F238E27FC236}">
                <a16:creationId xmlns:a16="http://schemas.microsoft.com/office/drawing/2014/main" id="{EFABB7D3-4A66-0146-9255-CAABC2D40C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2875" y="1022109"/>
            <a:ext cx="8858250" cy="3603866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9F696057-5400-C642-A58A-718D9D60481F}"/>
              </a:ext>
            </a:extLst>
          </p:cNvPr>
          <p:cNvSpPr/>
          <p:nvPr userDrawn="1"/>
        </p:nvSpPr>
        <p:spPr>
          <a:xfrm>
            <a:off x="611188" y="1268730"/>
            <a:ext cx="7915274" cy="3125333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algn="ctr"/>
            <a:endParaRPr lang="de-DE" b="0" i="0" dirty="0">
              <a:latin typeface="Arial Narrow Regular" panose="020B060602020203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9A2A90-81C6-D440-ABEC-4EEEB92073F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42988" y="1752664"/>
            <a:ext cx="7092950" cy="855662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defRPr sz="2400"/>
            </a:lvl1pPr>
          </a:lstStyle>
          <a:p>
            <a:r>
              <a:rPr lang="de-DE" dirty="0"/>
              <a:t>Name der Veranstaltung oder des Vortrags</a:t>
            </a:r>
            <a:br>
              <a:rPr lang="de-DE" dirty="0"/>
            </a:br>
            <a:endParaRPr lang="en-US" dirty="0"/>
          </a:p>
        </p:txBody>
      </p:sp>
      <p:sp>
        <p:nvSpPr>
          <p:cNvPr id="10" name="Textplatzhalter 24">
            <a:extLst>
              <a:ext uri="{FF2B5EF4-FFF2-40B4-BE49-F238E27FC236}">
                <a16:creationId xmlns:a16="http://schemas.microsoft.com/office/drawing/2014/main" id="{D108B4F1-5B00-2D45-8367-3261473535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42988" y="3588832"/>
            <a:ext cx="7092950" cy="230832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>
              <a:buNone/>
              <a:defRPr sz="1500" b="0" i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pPr lvl="0"/>
            <a:r>
              <a:rPr lang="de-DE" dirty="0"/>
              <a:t>Verfasser</a:t>
            </a:r>
          </a:p>
        </p:txBody>
      </p:sp>
      <p:sp>
        <p:nvSpPr>
          <p:cNvPr id="11" name="Textplatzhalter 26">
            <a:extLst>
              <a:ext uri="{FF2B5EF4-FFF2-40B4-BE49-F238E27FC236}">
                <a16:creationId xmlns:a16="http://schemas.microsoft.com/office/drawing/2014/main" id="{207D3F35-CB43-5A48-94D9-B84E8E85308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42988" y="3949218"/>
            <a:ext cx="7092950" cy="22782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50000"/>
              </a:lnSpc>
              <a:buNone/>
              <a:defRPr sz="1500" b="0" i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pPr lvl="0"/>
            <a:r>
              <a:rPr lang="de-DE" dirty="0"/>
              <a:t>Ort |  29. September 2020</a:t>
            </a:r>
          </a:p>
        </p:txBody>
      </p:sp>
      <p:sp>
        <p:nvSpPr>
          <p:cNvPr id="12" name="Textplatzhalter 24">
            <a:extLst>
              <a:ext uri="{FF2B5EF4-FFF2-40B4-BE49-F238E27FC236}">
                <a16:creationId xmlns:a16="http://schemas.microsoft.com/office/drawing/2014/main" id="{D5EA7AF0-F7BA-9E4E-B3B3-53ECC87639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42988" y="2788308"/>
            <a:ext cx="7092950" cy="2616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700" b="0" i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6263281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ABL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oliennummernplatzhalter 4">
            <a:extLst>
              <a:ext uri="{FF2B5EF4-FFF2-40B4-BE49-F238E27FC236}">
                <a16:creationId xmlns:a16="http://schemas.microsoft.com/office/drawing/2014/main" id="{79E80688-C15F-9EB8-B133-A44714954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4767264"/>
            <a:ext cx="2066692" cy="273844"/>
          </a:xfrm>
        </p:spPr>
        <p:txBody>
          <a:bodyPr/>
          <a:lstStyle/>
          <a:p>
            <a:fld id="{DA9A2B99-37D7-E946-830B-7F7D4CF63B8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98041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638" y="1985051"/>
            <a:ext cx="8352930" cy="1173398"/>
          </a:xfrm>
        </p:spPr>
        <p:txBody>
          <a:bodyPr/>
          <a:lstStyle>
            <a:lvl1pPr>
              <a:defRPr>
                <a:latin typeface="Lucida Sans" pitchFamily="34" charset="0"/>
              </a:defRPr>
            </a:lvl1pPr>
            <a:lvl2pPr>
              <a:defRPr>
                <a:latin typeface="Lucida Sans" pitchFamily="34" charset="0"/>
              </a:defRPr>
            </a:lvl2pPr>
            <a:lvl3pPr>
              <a:defRPr>
                <a:latin typeface="Lucida Sans" pitchFamily="34" charset="0"/>
              </a:defRPr>
            </a:lvl3pPr>
            <a:lvl4pPr>
              <a:defRPr>
                <a:latin typeface="Lucida Sans" pitchFamily="34" charset="0"/>
              </a:defRPr>
            </a:lvl4pPr>
            <a:lvl5pPr>
              <a:defRPr>
                <a:latin typeface="Lucida Sans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Lucida Sans" pitchFamily="34" charset="0"/>
              </a:defRPr>
            </a:lvl1pPr>
          </a:lstStyle>
          <a:p>
            <a:fld id="{AC336EDD-7D0A-40F6-99CD-C63EC60BD89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/>
              <a:t>Spectaris</a:t>
            </a:r>
            <a:r>
              <a:rPr lang="en-US" dirty="0"/>
              <a:t> | Workgroup along the Lab-Workflow  | Dr. Matthias Arnold | 2019-11-19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C93820E7-D89F-E935-6015-0A20DE4844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0720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Tm="0">
        <p:fade/>
      </p:transition>
    </mc:Choice>
    <mc:Fallback xmlns="">
      <p:transition spd="slow" advTm="0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56615E94-3DC5-F840-95EE-45D8DCEB43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66692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 i="0">
                <a:solidFill>
                  <a:srgbClr val="0070C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fld id="{DA9A2B99-37D7-E946-830B-7F7D4CF63B8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4558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hrungslinien Blan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DA7BB340-FA14-D547-9BF7-E5C624E64DFF}"/>
              </a:ext>
            </a:extLst>
          </p:cNvPr>
          <p:cNvCxnSpPr/>
          <p:nvPr userDrawn="1"/>
        </p:nvCxnSpPr>
        <p:spPr>
          <a:xfrm>
            <a:off x="0" y="220663"/>
            <a:ext cx="9144000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01215EBC-FF6B-4347-A562-C501F3C67F53}"/>
              </a:ext>
            </a:extLst>
          </p:cNvPr>
          <p:cNvCxnSpPr/>
          <p:nvPr userDrawn="1"/>
        </p:nvCxnSpPr>
        <p:spPr>
          <a:xfrm>
            <a:off x="0" y="4414647"/>
            <a:ext cx="9144000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B1044315-8DDA-474D-AC82-143FB1E57A60}"/>
              </a:ext>
            </a:extLst>
          </p:cNvPr>
          <p:cNvCxnSpPr/>
          <p:nvPr userDrawn="1"/>
        </p:nvCxnSpPr>
        <p:spPr>
          <a:xfrm>
            <a:off x="0" y="4625975"/>
            <a:ext cx="9144000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4" name="Gerade Verbindung 13">
            <a:extLst>
              <a:ext uri="{FF2B5EF4-FFF2-40B4-BE49-F238E27FC236}">
                <a16:creationId xmlns:a16="http://schemas.microsoft.com/office/drawing/2014/main" id="{7C04D434-717D-6444-86D5-7C7CBA913B73}"/>
              </a:ext>
            </a:extLst>
          </p:cNvPr>
          <p:cNvCxnSpPr/>
          <p:nvPr userDrawn="1"/>
        </p:nvCxnSpPr>
        <p:spPr>
          <a:xfrm>
            <a:off x="0" y="1729459"/>
            <a:ext cx="9144000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A250C0B8-843E-F642-A3EA-3A139C27C0E3}"/>
              </a:ext>
            </a:extLst>
          </p:cNvPr>
          <p:cNvCxnSpPr/>
          <p:nvPr userDrawn="1"/>
        </p:nvCxnSpPr>
        <p:spPr>
          <a:xfrm>
            <a:off x="0" y="1845828"/>
            <a:ext cx="9144000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216E690F-B958-BF40-BFC2-44FAC2237FE6}"/>
              </a:ext>
            </a:extLst>
          </p:cNvPr>
          <p:cNvCxnSpPr/>
          <p:nvPr userDrawn="1"/>
        </p:nvCxnSpPr>
        <p:spPr>
          <a:xfrm>
            <a:off x="-13864" y="1022109"/>
            <a:ext cx="9144000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9F58295F-F098-174F-AF64-85E105F99B33}"/>
              </a:ext>
            </a:extLst>
          </p:cNvPr>
          <p:cNvCxnSpPr/>
          <p:nvPr userDrawn="1"/>
        </p:nvCxnSpPr>
        <p:spPr>
          <a:xfrm>
            <a:off x="0" y="845325"/>
            <a:ext cx="9144000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2" name="Gerade Verbindung 21">
            <a:extLst>
              <a:ext uri="{FF2B5EF4-FFF2-40B4-BE49-F238E27FC236}">
                <a16:creationId xmlns:a16="http://schemas.microsoft.com/office/drawing/2014/main" id="{A1214257-F389-474B-AFE1-594F1D756CEC}"/>
              </a:ext>
            </a:extLst>
          </p:cNvPr>
          <p:cNvCxnSpPr/>
          <p:nvPr userDrawn="1"/>
        </p:nvCxnSpPr>
        <p:spPr>
          <a:xfrm>
            <a:off x="6976590" y="0"/>
            <a:ext cx="0" cy="514350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3" name="Gerade Verbindung 22">
            <a:extLst>
              <a:ext uri="{FF2B5EF4-FFF2-40B4-BE49-F238E27FC236}">
                <a16:creationId xmlns:a16="http://schemas.microsoft.com/office/drawing/2014/main" id="{73E2D474-3DB5-6340-A852-E9C4BE6A7E04}"/>
              </a:ext>
            </a:extLst>
          </p:cNvPr>
          <p:cNvCxnSpPr/>
          <p:nvPr userDrawn="1"/>
        </p:nvCxnSpPr>
        <p:spPr>
          <a:xfrm>
            <a:off x="8527463" y="0"/>
            <a:ext cx="0" cy="514350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Gerade Verbindung 23">
            <a:extLst>
              <a:ext uri="{FF2B5EF4-FFF2-40B4-BE49-F238E27FC236}">
                <a16:creationId xmlns:a16="http://schemas.microsoft.com/office/drawing/2014/main" id="{3048C760-DF1B-5748-A5E7-92A122A71BD7}"/>
              </a:ext>
            </a:extLst>
          </p:cNvPr>
          <p:cNvCxnSpPr/>
          <p:nvPr userDrawn="1"/>
        </p:nvCxnSpPr>
        <p:spPr>
          <a:xfrm>
            <a:off x="9001125" y="0"/>
            <a:ext cx="0" cy="514350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5" name="Gerade Verbindung 24">
            <a:extLst>
              <a:ext uri="{FF2B5EF4-FFF2-40B4-BE49-F238E27FC236}">
                <a16:creationId xmlns:a16="http://schemas.microsoft.com/office/drawing/2014/main" id="{75AFD71B-C3F5-C74C-87A0-05E0672125A6}"/>
              </a:ext>
            </a:extLst>
          </p:cNvPr>
          <p:cNvCxnSpPr/>
          <p:nvPr userDrawn="1"/>
        </p:nvCxnSpPr>
        <p:spPr>
          <a:xfrm>
            <a:off x="606988" y="0"/>
            <a:ext cx="0" cy="514350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6" name="Gerade Verbindung 25">
            <a:extLst>
              <a:ext uri="{FF2B5EF4-FFF2-40B4-BE49-F238E27FC236}">
                <a16:creationId xmlns:a16="http://schemas.microsoft.com/office/drawing/2014/main" id="{DC4FFE53-19D0-BA49-8F19-182DD018D276}"/>
              </a:ext>
            </a:extLst>
          </p:cNvPr>
          <p:cNvCxnSpPr/>
          <p:nvPr userDrawn="1"/>
        </p:nvCxnSpPr>
        <p:spPr>
          <a:xfrm>
            <a:off x="888722" y="0"/>
            <a:ext cx="0" cy="514350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7" name="Gerade Verbindung 26">
            <a:extLst>
              <a:ext uri="{FF2B5EF4-FFF2-40B4-BE49-F238E27FC236}">
                <a16:creationId xmlns:a16="http://schemas.microsoft.com/office/drawing/2014/main" id="{12B513CF-D079-7D4F-ACA1-F3BA3646F586}"/>
              </a:ext>
            </a:extLst>
          </p:cNvPr>
          <p:cNvCxnSpPr/>
          <p:nvPr userDrawn="1"/>
        </p:nvCxnSpPr>
        <p:spPr>
          <a:xfrm>
            <a:off x="755269" y="0"/>
            <a:ext cx="0" cy="514350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8" name="Gerade Verbindung 27">
            <a:extLst>
              <a:ext uri="{FF2B5EF4-FFF2-40B4-BE49-F238E27FC236}">
                <a16:creationId xmlns:a16="http://schemas.microsoft.com/office/drawing/2014/main" id="{DF730D67-74D1-E142-AA80-694FE1FECDC4}"/>
              </a:ext>
            </a:extLst>
          </p:cNvPr>
          <p:cNvCxnSpPr/>
          <p:nvPr userDrawn="1"/>
        </p:nvCxnSpPr>
        <p:spPr>
          <a:xfrm>
            <a:off x="142875" y="0"/>
            <a:ext cx="0" cy="514350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0AC95D4B-F7F9-264B-972F-0E387CFB02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66692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 i="0">
                <a:solidFill>
                  <a:srgbClr val="0070C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fld id="{DA9A2B99-37D7-E946-830B-7F7D4CF63B8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10558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6491A535-9280-8442-98ED-631872BEB6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2875" y="1022109"/>
            <a:ext cx="8858250" cy="3603866"/>
          </a:xfrm>
          <a:prstGeom prst="rect">
            <a:avLst/>
          </a:prstGeom>
        </p:spPr>
      </p:pic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8CD3A45-F18D-AA40-9F69-BFF88BA27B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9A2B99-37D7-E946-830B-7F7D4CF63B8D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56EC498-3D46-D74E-A54B-F12F697E9B76}"/>
              </a:ext>
            </a:extLst>
          </p:cNvPr>
          <p:cNvSpPr/>
          <p:nvPr userDrawn="1"/>
        </p:nvSpPr>
        <p:spPr>
          <a:xfrm>
            <a:off x="611188" y="1268729"/>
            <a:ext cx="7921624" cy="2893027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de-DE" b="0" i="0" dirty="0">
              <a:latin typeface="Arial Narrow Regular" panose="020B060602020203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3C5C758-3080-8F4D-821A-5A9B0740554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42989" y="1750317"/>
            <a:ext cx="7092950" cy="858434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Mastertitelformat bearbeiten</a:t>
            </a:r>
            <a:br>
              <a:rPr lang="de-DE" dirty="0"/>
            </a:br>
            <a:endParaRPr lang="en-US" dirty="0"/>
          </a:p>
        </p:txBody>
      </p:sp>
      <p:sp>
        <p:nvSpPr>
          <p:cNvPr id="12" name="Textplatzhalter 24">
            <a:extLst>
              <a:ext uri="{FF2B5EF4-FFF2-40B4-BE49-F238E27FC236}">
                <a16:creationId xmlns:a16="http://schemas.microsoft.com/office/drawing/2014/main" id="{A783C0F2-3690-C34A-B742-6D804BD2157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42988" y="2788308"/>
            <a:ext cx="7092951" cy="10614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700" b="0" i="0">
                <a:solidFill>
                  <a:srgbClr val="00000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755059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17 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9FEED7F-12C4-724B-A1A4-92782C137D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9A2B99-37D7-E946-830B-7F7D4CF63B8D}" type="slidenum">
              <a:rPr lang="de-DE" smtClean="0"/>
              <a:t>‹Nr.›</a:t>
            </a:fld>
            <a:endParaRPr lang="de-DE"/>
          </a:p>
        </p:txBody>
      </p:sp>
      <p:sp>
        <p:nvSpPr>
          <p:cNvPr id="12" name="Titelplatzhalter 9">
            <a:extLst>
              <a:ext uri="{FF2B5EF4-FFF2-40B4-BE49-F238E27FC236}">
                <a16:creationId xmlns:a16="http://schemas.microsoft.com/office/drawing/2014/main" id="{0EE6BD84-F7C6-BE47-97DF-EAFFF2F628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000" y="1026000"/>
            <a:ext cx="7912800" cy="694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C9224DAE-9A24-E041-AA09-CD049AB3CA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1028" y="1851024"/>
            <a:ext cx="7913613" cy="27757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883457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_Text_17 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9FEED7F-12C4-724B-A1A4-92782C137D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9A2B99-37D7-E946-830B-7F7D4CF63B8D}" type="slidenum">
              <a:rPr lang="de-DE" smtClean="0"/>
              <a:t>‹Nr.›</a:t>
            </a:fld>
            <a:endParaRPr lang="de-DE"/>
          </a:p>
        </p:txBody>
      </p:sp>
      <p:sp>
        <p:nvSpPr>
          <p:cNvPr id="12" name="Titelplatzhalter 9">
            <a:extLst>
              <a:ext uri="{FF2B5EF4-FFF2-40B4-BE49-F238E27FC236}">
                <a16:creationId xmlns:a16="http://schemas.microsoft.com/office/drawing/2014/main" id="{0EE6BD84-F7C6-BE47-97DF-EAFFF2F628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001" y="1026000"/>
            <a:ext cx="7914162" cy="69480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EBD27466-66FF-4043-AB92-AB67CCF2C24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000" y="1851024"/>
            <a:ext cx="2775852" cy="277584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5F5FFD8D-AA91-9F49-AF32-E2CFA1ABFD1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66160" y="1850399"/>
            <a:ext cx="4960002" cy="2776465"/>
          </a:xfr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70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17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spcAft>
                <a:spcPts val="600"/>
              </a:spcAft>
              <a:defRPr sz="17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spcAft>
                <a:spcPts val="600"/>
              </a:spcAft>
              <a:defRPr sz="1500">
                <a:solidFill>
                  <a:schemeClr val="accent3">
                    <a:lumMod val="50000"/>
                  </a:schemeClr>
                </a:solidFill>
              </a:defRPr>
            </a:lvl4pPr>
          </a:lstStyle>
          <a:p>
            <a:r>
              <a:rPr lang="de-DE" dirty="0"/>
              <a:t>Hier Hinweis zu Bild oder Grafik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209193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orma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9FEED7F-12C4-724B-A1A4-92782C137D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9A2B99-37D7-E946-830B-7F7D4CF63B8D}" type="slidenum">
              <a:rPr lang="de-DE" smtClean="0"/>
              <a:t>‹Nr.›</a:t>
            </a:fld>
            <a:endParaRPr lang="de-DE"/>
          </a:p>
        </p:txBody>
      </p:sp>
      <p:sp>
        <p:nvSpPr>
          <p:cNvPr id="12" name="Titelplatzhalter 9">
            <a:extLst>
              <a:ext uri="{FF2B5EF4-FFF2-40B4-BE49-F238E27FC236}">
                <a16:creationId xmlns:a16="http://schemas.microsoft.com/office/drawing/2014/main" id="{0EE6BD84-F7C6-BE47-97DF-EAFFF2F628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000" y="1026000"/>
            <a:ext cx="7914162" cy="694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0FABD926-4976-4B44-921C-9719E5E78A5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2000" y="1851024"/>
            <a:ext cx="7914162" cy="2556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CEFDAB43-C6B7-264C-9ADC-126D45865DD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5600" y="4449763"/>
            <a:ext cx="7910562" cy="174625"/>
          </a:xfrm>
        </p:spPr>
        <p:txBody>
          <a:bodyPr/>
          <a:lstStyle>
            <a:lvl1pPr marL="0" indent="0">
              <a:buNone/>
              <a:defRPr sz="1000" b="0" i="1">
                <a:solidFill>
                  <a:srgbClr val="0070C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959415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platzierung/Farbmu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411732F-5BA4-014A-84C2-ED5E28FEAB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F1239B9-6AAB-D04C-8B47-3862BCED95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9A2B99-37D7-E946-830B-7F7D4CF63B8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Diagrammplatzhalter 6">
            <a:extLst>
              <a:ext uri="{FF2B5EF4-FFF2-40B4-BE49-F238E27FC236}">
                <a16:creationId xmlns:a16="http://schemas.microsoft.com/office/drawing/2014/main" id="{F0F328C2-B0CC-9F4C-9C8A-BB803AF50A0A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11028" y="1845828"/>
            <a:ext cx="3389472" cy="2775599"/>
          </a:xfrm>
        </p:spPr>
        <p:txBody>
          <a:bodyPr/>
          <a:lstStyle>
            <a:lvl1pPr>
              <a:defRPr sz="1400"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143239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nplatzierung/Farbmu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411732F-5BA4-014A-84C2-ED5E28FEAB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F1239B9-6AAB-D04C-8B47-3862BCED95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9A2B99-37D7-E946-830B-7F7D4CF63B8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9" name="Tabellenplatzhalter 18">
            <a:extLst>
              <a:ext uri="{FF2B5EF4-FFF2-40B4-BE49-F238E27FC236}">
                <a16:creationId xmlns:a16="http://schemas.microsoft.com/office/drawing/2014/main" id="{8D6B41E4-A871-B141-A131-54DFFCC131AE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11188" y="1850399"/>
            <a:ext cx="7912800" cy="2775576"/>
          </a:xfrm>
        </p:spPr>
        <p:txBody>
          <a:bodyPr/>
          <a:lstStyle>
            <a:lvl1pPr>
              <a:defRPr sz="1400" baseline="0">
                <a:solidFill>
                  <a:schemeClr val="accent2">
                    <a:lumMod val="10000"/>
                  </a:schemeClr>
                </a:solidFill>
              </a:defRPr>
            </a:lvl1pPr>
          </a:lstStyle>
          <a:p>
            <a:r>
              <a:rPr lang="de-DE"/>
              <a:t>Tabelle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70716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15 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AC0AF7A-4245-6347-B6B6-18CF6B0B4C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1999" y="1850400"/>
            <a:ext cx="7912800" cy="2781036"/>
          </a:xfrm>
        </p:spPr>
        <p:txBody>
          <a:bodyPr lIns="0" tIns="0" rIns="0" bIns="0"/>
          <a:lstStyle>
            <a:lvl1pPr marL="0" indent="0">
              <a:spcAft>
                <a:spcPts val="400"/>
              </a:spcAft>
              <a:buFont typeface="Wingdings" pitchFamily="2" charset="2"/>
              <a:buNone/>
              <a:tabLst/>
              <a:defRPr sz="15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1588">
              <a:spcAft>
                <a:spcPts val="400"/>
              </a:spcAft>
              <a:tabLst/>
              <a:defRPr sz="1500">
                <a:solidFill>
                  <a:schemeClr val="accent3">
                    <a:lumMod val="50000"/>
                  </a:schemeClr>
                </a:solidFill>
              </a:defRPr>
            </a:lvl2pPr>
            <a:lvl3pPr marL="136525" indent="-131763">
              <a:spcAft>
                <a:spcPts val="400"/>
              </a:spcAft>
              <a:tabLst/>
              <a:defRPr sz="1500">
                <a:solidFill>
                  <a:schemeClr val="accent3">
                    <a:lumMod val="50000"/>
                  </a:schemeClr>
                </a:solidFill>
              </a:defRPr>
            </a:lvl3pPr>
            <a:lvl4pPr marL="268288" indent="-131763">
              <a:spcAft>
                <a:spcPts val="400"/>
              </a:spcAft>
              <a:tabLst/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spcAft>
                <a:spcPts val="400"/>
              </a:spcAft>
              <a:defRPr sz="1400"/>
            </a:lvl5pPr>
            <a:lvl6pPr marL="268288" indent="0">
              <a:spcAft>
                <a:spcPts val="400"/>
              </a:spcAft>
              <a:tabLst/>
              <a:defRPr sz="14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 marL="400050" indent="-131763">
              <a:spcAft>
                <a:spcPts val="400"/>
              </a:spcAft>
              <a:buNone/>
              <a:tabLst/>
              <a:defRPr sz="1400" b="1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8pPr marL="400050" indent="-131763">
              <a:spcAft>
                <a:spcPts val="400"/>
              </a:spcAft>
              <a:tabLst/>
              <a:defRPr sz="1400" b="0" i="0">
                <a:latin typeface="Arial Narrow" panose="020B0604020202020204" pitchFamily="34" charset="0"/>
                <a:cs typeface="Arial Narrow" panose="020B0604020202020204" pitchFamily="34" charset="0"/>
              </a:defRPr>
            </a:lvl8pPr>
            <a:lvl9pPr marL="536575" indent="-136525">
              <a:spcAft>
                <a:spcPts val="400"/>
              </a:spcAft>
              <a:buFont typeface="Wingdings" pitchFamily="2" charset="2"/>
              <a:buChar char="§"/>
              <a:tabLst/>
              <a:defRPr sz="1400" b="0" i="0">
                <a:latin typeface="Arial Narrow" panose="020B0604020202020204" pitchFamily="34" charset="0"/>
                <a:cs typeface="Arial Narrow" panose="020B0604020202020204" pitchFamily="34" charset="0"/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9FEED7F-12C4-724B-A1A4-92782C137D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9A2B99-37D7-E946-830B-7F7D4CF63B8D}" type="slidenum">
              <a:rPr lang="de-DE" smtClean="0"/>
              <a:t>‹Nr.›</a:t>
            </a:fld>
            <a:endParaRPr lang="de-DE"/>
          </a:p>
        </p:txBody>
      </p:sp>
      <p:sp>
        <p:nvSpPr>
          <p:cNvPr id="12" name="Titelplatzhalter 9">
            <a:extLst>
              <a:ext uri="{FF2B5EF4-FFF2-40B4-BE49-F238E27FC236}">
                <a16:creationId xmlns:a16="http://schemas.microsoft.com/office/drawing/2014/main" id="{0EE6BD84-F7C6-BE47-97DF-EAFFF2F628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000" y="1026000"/>
            <a:ext cx="7912800" cy="694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012477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_Text_14 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9FEED7F-12C4-724B-A1A4-92782C137D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9A2B99-37D7-E946-830B-7F7D4CF63B8D}" type="slidenum">
              <a:rPr lang="de-DE" smtClean="0"/>
              <a:t>‹Nr.›</a:t>
            </a:fld>
            <a:endParaRPr lang="de-DE"/>
          </a:p>
        </p:txBody>
      </p:sp>
      <p:sp>
        <p:nvSpPr>
          <p:cNvPr id="12" name="Titelplatzhalter 9">
            <a:extLst>
              <a:ext uri="{FF2B5EF4-FFF2-40B4-BE49-F238E27FC236}">
                <a16:creationId xmlns:a16="http://schemas.microsoft.com/office/drawing/2014/main" id="{0EE6BD84-F7C6-BE47-97DF-EAFFF2F628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000" y="1026000"/>
            <a:ext cx="7912800" cy="69480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EBD27466-66FF-4043-AB92-AB67CCF2C24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000" y="1850399"/>
            <a:ext cx="2775852" cy="2776335"/>
          </a:xfrm>
          <a:effectLst/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5F5FFD8D-AA91-9F49-AF32-E2CFA1ABFD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30168" y="1850399"/>
            <a:ext cx="4895994" cy="2776335"/>
          </a:xfrm>
        </p:spPr>
        <p:txBody>
          <a:bodyPr lIns="0" tIns="0" rIns="0" bIns="0"/>
          <a:lstStyle>
            <a:lvl1pPr marL="0" indent="0">
              <a:spcAft>
                <a:spcPts val="400"/>
              </a:spcAft>
              <a:buNone/>
              <a:defRPr sz="150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spcAft>
                <a:spcPts val="400"/>
              </a:spcAft>
              <a:defRPr sz="150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spcAft>
                <a:spcPts val="400"/>
              </a:spcAft>
              <a:defRPr sz="150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spcAft>
                <a:spcPts val="400"/>
              </a:spcAft>
              <a:defRPr sz="140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spcAft>
                <a:spcPts val="400"/>
              </a:spcAft>
              <a:defRPr sz="1400"/>
            </a:lvl5pPr>
            <a:lvl6pPr marL="358775" indent="-90488">
              <a:spcAft>
                <a:spcPts val="400"/>
              </a:spcAft>
              <a:tabLst/>
              <a:defRPr sz="1400" b="0"/>
            </a:lvl6pPr>
            <a:lvl7pPr marL="400050" indent="-131763">
              <a:spcAft>
                <a:spcPts val="400"/>
              </a:spcAft>
              <a:buNone/>
              <a:tabLst/>
              <a:defRPr sz="1400" b="1"/>
            </a:lvl7pPr>
            <a:lvl8pPr marL="400050" indent="-131763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tabLst/>
              <a:defRPr/>
            </a:lvl8pPr>
            <a:lvl9pPr marL="536575" indent="-13652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tabLst/>
              <a:defRPr b="0" i="0">
                <a:latin typeface="Arial Narrow" panose="020B0604020202020204" pitchFamily="34" charset="0"/>
                <a:cs typeface="Arial Narrow" panose="020B0604020202020204" pitchFamily="34" charset="0"/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381266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1C22DA9-B843-BA4B-AF2C-F8BA5F1643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1028" y="1851024"/>
            <a:ext cx="7913613" cy="27757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  <a:p>
            <a:pPr lvl="4"/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A893C55-E5ED-A840-9835-162B94916D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66692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 i="0">
                <a:solidFill>
                  <a:srgbClr val="0070C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fld id="{DA9A2B99-37D7-E946-830B-7F7D4CF63B8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itelplatzhalter 9">
            <a:extLst>
              <a:ext uri="{FF2B5EF4-FFF2-40B4-BE49-F238E27FC236}">
                <a16:creationId xmlns:a16="http://schemas.microsoft.com/office/drawing/2014/main" id="{2370CD38-9B09-7648-B213-B0A049DF23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028" y="1025517"/>
            <a:ext cx="7912800" cy="6941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B59E458-94B1-5D74-9793-044151F3A5B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29338" y="117468"/>
            <a:ext cx="1528774" cy="666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975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65" r:id="rId4"/>
    <p:sldLayoutId id="2147483653" r:id="rId5"/>
    <p:sldLayoutId id="2147483666" r:id="rId6"/>
    <p:sldLayoutId id="2147483661" r:id="rId7"/>
    <p:sldLayoutId id="2147483664" r:id="rId8"/>
    <p:sldLayoutId id="2147483663" r:id="rId9"/>
    <p:sldLayoutId id="2147483667" r:id="rId10"/>
    <p:sldLayoutId id="2147483668" r:id="rId11"/>
  </p:sldLayoutIdLst>
  <p:hf hdr="0"/>
  <p:txStyles>
    <p:titleStyle>
      <a:lvl1pPr algn="l" defTabSz="685783" rtl="0" eaLnBrk="1" latinLnBrk="0" hangingPunct="1">
        <a:lnSpc>
          <a:spcPct val="100000"/>
        </a:lnSpc>
        <a:spcBef>
          <a:spcPct val="0"/>
        </a:spcBef>
        <a:buNone/>
        <a:defRPr sz="2400" b="1" i="0" kern="1200">
          <a:solidFill>
            <a:schemeClr val="tx1"/>
          </a:solidFill>
          <a:latin typeface="Arial Narrow" panose="020B0604020202020204" pitchFamily="34" charset="0"/>
          <a:ea typeface="+mj-ea"/>
          <a:cs typeface="Arial Narrow" panose="020B0604020202020204" pitchFamily="34" charset="0"/>
        </a:defRPr>
      </a:lvl1pPr>
    </p:titleStyle>
    <p:bodyStyle>
      <a:lvl1pPr marL="0" indent="0" algn="l" defTabSz="68578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70C0"/>
        </a:buClr>
        <a:buFont typeface="Wingdings" pitchFamily="2" charset="2"/>
        <a:buNone/>
        <a:tabLst/>
        <a:defRPr sz="1700" b="0" i="0" kern="1200">
          <a:solidFill>
            <a:schemeClr val="accent3">
              <a:lumMod val="50000"/>
            </a:schemeClr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1pPr>
      <a:lvl2pPr marL="3175" indent="0" algn="l" defTabSz="68578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70C0"/>
        </a:buClr>
        <a:buFont typeface="Wingdings" pitchFamily="2" charset="2"/>
        <a:buNone/>
        <a:tabLst/>
        <a:defRPr sz="1700" b="1" i="0" kern="1200">
          <a:solidFill>
            <a:schemeClr val="accent3">
              <a:lumMod val="50000"/>
            </a:schemeClr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2pPr>
      <a:lvl3pPr marL="133350" indent="-128588" algn="l" defTabSz="68578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Wingdings" pitchFamily="2" charset="2"/>
        <a:buChar char="§"/>
        <a:tabLst/>
        <a:defRPr sz="1700" b="0" i="0" kern="1200">
          <a:solidFill>
            <a:schemeClr val="accent3">
              <a:lumMod val="50000"/>
            </a:schemeClr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3pPr>
      <a:lvl4pPr marL="246063" indent="-112713" algn="l" defTabSz="68578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Wingdings" pitchFamily="2" charset="2"/>
        <a:buChar char="§"/>
        <a:tabLst/>
        <a:defRPr sz="1500" b="0" i="0" kern="1200">
          <a:solidFill>
            <a:schemeClr val="accent3">
              <a:lumMod val="50000"/>
            </a:schemeClr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4pPr>
      <a:lvl5pPr marL="400050" indent="-133350" algn="l" defTabSz="68578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Wingdings" pitchFamily="2" charset="2"/>
        <a:buChar char="§"/>
        <a:tabLst/>
        <a:defRPr sz="1500" b="0" i="0" kern="1200">
          <a:solidFill>
            <a:schemeClr val="accent3">
              <a:lumMod val="50000"/>
            </a:schemeClr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5pPr>
      <a:lvl6pPr marL="400050" indent="-131763" algn="l" defTabSz="68578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Wingdings" pitchFamily="2" charset="2"/>
        <a:buNone/>
        <a:tabLst/>
        <a:defRPr sz="1500" b="0" i="0" kern="1200">
          <a:solidFill>
            <a:schemeClr val="accent3">
              <a:lumMod val="50000"/>
            </a:schemeClr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6pPr>
      <a:lvl7pPr marL="400050" indent="-131763" algn="l" defTabSz="68578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None/>
        <a:tabLst/>
        <a:defRPr sz="1500" b="1" i="0" kern="1200">
          <a:solidFill>
            <a:schemeClr val="accent3">
              <a:lumMod val="50000"/>
            </a:schemeClr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7pPr>
      <a:lvl8pPr marL="400050" indent="-131763" algn="l" defTabSz="68578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Wingdings" pitchFamily="2" charset="2"/>
        <a:buChar char="§"/>
        <a:tabLst/>
        <a:defRPr sz="1500" b="0" i="0" kern="1200">
          <a:solidFill>
            <a:schemeClr val="accent3">
              <a:lumMod val="50000"/>
            </a:schemeClr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8pPr>
      <a:lvl9pPr marL="536575" indent="-136525" algn="l" defTabSz="68578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Wingdings" pitchFamily="2" charset="2"/>
        <a:buChar char="§"/>
        <a:tabLst/>
        <a:defRPr sz="1500" b="0" i="0" kern="1200">
          <a:solidFill>
            <a:schemeClr val="accent3">
              <a:lumMod val="50000"/>
            </a:schemeClr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00CD817-DBB6-B74C-A312-E404D13164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66692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 i="0">
                <a:solidFill>
                  <a:srgbClr val="0070C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fld id="{DA9A2B99-37D7-E946-830B-7F7D4CF63B8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874528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0.xml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1.xml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linkedin.com/Dr-Matthias-Arnold/" TargetMode="External"/><Relationship Id="rId3" Type="http://schemas.openxmlformats.org/officeDocument/2006/relationships/notesSlide" Target="../notesSlides/notesSlide12.xml"/><Relationship Id="rId7" Type="http://schemas.openxmlformats.org/officeDocument/2006/relationships/hyperlink" Target="https://www.linkedin.com/company/LADS-OPC-UA/" TargetMode="Externa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2.xml"/><Relationship Id="rId6" Type="http://schemas.openxmlformats.org/officeDocument/2006/relationships/image" Target="../media/image21.png"/><Relationship Id="rId11" Type="http://schemas.openxmlformats.org/officeDocument/2006/relationships/image" Target="../media/image22.png"/><Relationship Id="rId5" Type="http://schemas.openxmlformats.org/officeDocument/2006/relationships/image" Target="../media/image20.png"/><Relationship Id="rId10" Type="http://schemas.openxmlformats.org/officeDocument/2006/relationships/hyperlink" Target="https://www.youtube.com/watch?v=l7jXcO0QH7Y" TargetMode="External"/><Relationship Id="rId4" Type="http://schemas.openxmlformats.org/officeDocument/2006/relationships/image" Target="../media/image19.jpeg"/><Relationship Id="rId9" Type="http://schemas.openxmlformats.org/officeDocument/2006/relationships/hyperlink" Target="https://opcfoundation-events.com/2023/05/12/opc-day-international-2023/#arnold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.xml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.xml"/><Relationship Id="rId5" Type="http://schemas.openxmlformats.org/officeDocument/2006/relationships/image" Target="../media/image9.png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.xml"/><Relationship Id="rId5" Type="http://schemas.openxmlformats.org/officeDocument/2006/relationships/image" Target="../media/image4.png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8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9.xml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81E655F-4F29-019E-6ED1-0C447EB9B7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1666" y="1899363"/>
            <a:ext cx="7852976" cy="276999"/>
          </a:xfrm>
        </p:spPr>
        <p:txBody>
          <a:bodyPr/>
          <a:lstStyle/>
          <a:p>
            <a:r>
              <a:rPr lang="de-DE" sz="2800" dirty="0"/>
              <a:t>LADS Information Model</a:t>
            </a:r>
            <a:br>
              <a:rPr lang="de-DE" sz="2800" dirty="0"/>
            </a:br>
            <a:r>
              <a:rPr lang="de-DE" sz="2800" dirty="0"/>
              <a:t>Bruker MPA III - FT-NIR Multi Purpose Analyzer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B8E255D-FA1C-80D4-D0E2-AC52CC9749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1666" y="3256979"/>
            <a:ext cx="6116212" cy="1173398"/>
          </a:xfrm>
        </p:spPr>
        <p:txBody>
          <a:bodyPr/>
          <a:lstStyle/>
          <a:p>
            <a:r>
              <a:rPr lang="de-DE" sz="1800" dirty="0">
                <a:latin typeface="+mn-lt"/>
                <a:cs typeface="Arial" panose="020B0604020202020204" pitchFamily="34" charset="0"/>
              </a:rPr>
              <a:t>Dr. Matthias Arnold</a:t>
            </a:r>
            <a:br>
              <a:rPr lang="de-DE" sz="1800" dirty="0">
                <a:latin typeface="+mn-lt"/>
                <a:cs typeface="Arial" panose="020B0604020202020204" pitchFamily="34" charset="0"/>
              </a:rPr>
            </a:br>
            <a:r>
              <a:rPr lang="de-DE" sz="1800" dirty="0">
                <a:latin typeface="+mn-lt"/>
                <a:cs typeface="Arial" panose="020B0604020202020204" pitchFamily="34" charset="0"/>
              </a:rPr>
              <a:t>November 2024</a:t>
            </a:r>
            <a:endParaRPr lang="de-DE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4F5E3C9-CFEA-CE93-8269-D85A90D6F4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336EDD-7D0A-40F6-99CD-C63EC60BD89B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8" name="Untertitel 6">
            <a:extLst>
              <a:ext uri="{FF2B5EF4-FFF2-40B4-BE49-F238E27FC236}">
                <a16:creationId xmlns:a16="http://schemas.microsoft.com/office/drawing/2014/main" id="{0B8E8DBB-EA84-E33D-551C-1BDA2DCAA3AE}"/>
              </a:ext>
            </a:extLst>
          </p:cNvPr>
          <p:cNvSpPr txBox="1">
            <a:spLocks/>
          </p:cNvSpPr>
          <p:nvPr/>
        </p:nvSpPr>
        <p:spPr>
          <a:xfrm>
            <a:off x="768342" y="4797152"/>
            <a:ext cx="10363200" cy="109839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C0"/>
              </a:buClr>
              <a:buFont typeface="Wingdings" pitchFamily="2" charset="2"/>
              <a:buNone/>
              <a:tabLst/>
              <a:defRPr sz="1700" b="0" i="0" kern="1200">
                <a:solidFill>
                  <a:schemeClr val="accent3">
                    <a:lumMod val="50000"/>
                  </a:schemeClr>
                </a:solidFill>
                <a:latin typeface="Lucida Sans" pitchFamily="34" charset="0"/>
                <a:ea typeface="+mn-ea"/>
                <a:cs typeface="Arial Narrow" panose="020B0604020202020204" pitchFamily="34" charset="0"/>
              </a:defRPr>
            </a:lvl1pPr>
            <a:lvl2pPr marL="3175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C0"/>
              </a:buClr>
              <a:buFont typeface="Wingdings" pitchFamily="2" charset="2"/>
              <a:buNone/>
              <a:tabLst/>
              <a:defRPr sz="1700" b="1" i="0" kern="1200">
                <a:solidFill>
                  <a:schemeClr val="accent3">
                    <a:lumMod val="50000"/>
                  </a:schemeClr>
                </a:solidFill>
                <a:latin typeface="Lucida Sans" pitchFamily="34" charset="0"/>
                <a:ea typeface="+mn-ea"/>
                <a:cs typeface="Arial Narrow" panose="020B0604020202020204" pitchFamily="34" charset="0"/>
              </a:defRPr>
            </a:lvl2pPr>
            <a:lvl3pPr marL="133350" indent="-12858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itchFamily="2" charset="2"/>
              <a:buChar char="§"/>
              <a:tabLst/>
              <a:defRPr sz="1700" b="0" i="0" kern="1200">
                <a:solidFill>
                  <a:schemeClr val="accent3">
                    <a:lumMod val="50000"/>
                  </a:schemeClr>
                </a:solidFill>
                <a:latin typeface="Lucida Sans" pitchFamily="34" charset="0"/>
                <a:ea typeface="+mn-ea"/>
                <a:cs typeface="Arial Narrow" panose="020B0604020202020204" pitchFamily="34" charset="0"/>
              </a:defRPr>
            </a:lvl3pPr>
            <a:lvl4pPr marL="246063" indent="-1127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itchFamily="2" charset="2"/>
              <a:buChar char="§"/>
              <a:tabLst/>
              <a:defRPr sz="1500" b="0" i="0" kern="1200">
                <a:solidFill>
                  <a:schemeClr val="accent3">
                    <a:lumMod val="50000"/>
                  </a:schemeClr>
                </a:solidFill>
                <a:latin typeface="Lucida Sans" pitchFamily="34" charset="0"/>
                <a:ea typeface="+mn-ea"/>
                <a:cs typeface="Arial Narrow" panose="020B0604020202020204" pitchFamily="34" charset="0"/>
              </a:defRPr>
            </a:lvl4pPr>
            <a:lvl5pPr marL="400050" indent="-13335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itchFamily="2" charset="2"/>
              <a:buChar char="§"/>
              <a:tabLst/>
              <a:defRPr sz="1500" b="0" i="0" kern="1200">
                <a:solidFill>
                  <a:schemeClr val="accent3">
                    <a:lumMod val="50000"/>
                  </a:schemeClr>
                </a:solidFill>
                <a:latin typeface="Lucida Sans" pitchFamily="34" charset="0"/>
                <a:ea typeface="+mn-ea"/>
                <a:cs typeface="Arial Narrow" panose="020B0604020202020204" pitchFamily="34" charset="0"/>
              </a:defRPr>
            </a:lvl5pPr>
            <a:lvl6pPr marL="400050" indent="-13176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itchFamily="2" charset="2"/>
              <a:buNone/>
              <a:tabLst/>
              <a:defRPr sz="1500" b="0" i="0" kern="1200">
                <a:solidFill>
                  <a:schemeClr val="accent3">
                    <a:lumMod val="50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6pPr>
            <a:lvl7pPr marL="400050" indent="-13176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None/>
              <a:tabLst/>
              <a:defRPr sz="1500" b="1" i="0" kern="1200">
                <a:solidFill>
                  <a:schemeClr val="accent3">
                    <a:lumMod val="50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7pPr>
            <a:lvl8pPr marL="400050" indent="-13176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itchFamily="2" charset="2"/>
              <a:buChar char="§"/>
              <a:tabLst/>
              <a:defRPr sz="1500" b="0" i="0" kern="1200">
                <a:solidFill>
                  <a:schemeClr val="accent3">
                    <a:lumMod val="50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8pPr>
            <a:lvl9pPr marL="536575" indent="-1365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itchFamily="2" charset="2"/>
              <a:buChar char="§"/>
              <a:tabLst/>
              <a:defRPr sz="1500" b="0" i="0" kern="1200">
                <a:solidFill>
                  <a:schemeClr val="accent3">
                    <a:lumMod val="50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9pPr>
          </a:lstStyle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4140700064"/>
      </p:ext>
    </p:extLst>
  </p:cSld>
  <p:clrMapOvr>
    <a:masterClrMapping/>
  </p:clrMapOvr>
  <p:transition advTm="0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B49CD0-F570-D116-6889-10E6E3F24B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2">
            <a:extLst>
              <a:ext uri="{FF2B5EF4-FFF2-40B4-BE49-F238E27FC236}">
                <a16:creationId xmlns:a16="http://schemas.microsoft.com/office/drawing/2014/main" id="{2CF130C9-0358-85D3-6F4C-61805FC896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080" y="827457"/>
            <a:ext cx="8534920" cy="467316"/>
          </a:xfrm>
        </p:spPr>
        <p:txBody>
          <a:bodyPr/>
          <a:lstStyle/>
          <a:p>
            <a:r>
              <a:rPr lang="en-US" sz="2400" noProof="0" dirty="0"/>
              <a:t>Program Manager - Executing</a:t>
            </a:r>
            <a:endParaRPr lang="en-US" noProof="0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3F2CE1C-3DF7-6043-10B3-14FEBE60A232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1367444" y="1721364"/>
            <a:ext cx="6180513" cy="288039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87077080"/>
      </p:ext>
    </p:extLst>
  </p:cSld>
  <p:clrMapOvr>
    <a:masterClrMapping/>
  </p:clrMapOvr>
  <p:transition advTm="72757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D405F6-AAAA-47EC-FD1A-AF93518D8D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2">
            <a:extLst>
              <a:ext uri="{FF2B5EF4-FFF2-40B4-BE49-F238E27FC236}">
                <a16:creationId xmlns:a16="http://schemas.microsoft.com/office/drawing/2014/main" id="{51B5DC72-253B-EEA7-EA15-89FA694A99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080" y="827457"/>
            <a:ext cx="8534920" cy="467316"/>
          </a:xfrm>
        </p:spPr>
        <p:txBody>
          <a:bodyPr/>
          <a:lstStyle/>
          <a:p>
            <a:r>
              <a:rPr lang="en-US" sz="2400" noProof="0" dirty="0"/>
              <a:t>Program Manager - Results</a:t>
            </a:r>
            <a:endParaRPr lang="en-US" noProof="0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E5EE2C6-A290-AA80-5E62-1002B4C2373A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1308969" y="1294773"/>
            <a:ext cx="6091279" cy="331047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86562707"/>
      </p:ext>
    </p:extLst>
  </p:cSld>
  <p:clrMapOvr>
    <a:masterClrMapping/>
  </p:clrMapOvr>
  <p:transition advTm="72757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D4292FD7-3DC3-3234-B85E-F74BF13921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Thank You!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BB69967-4E3E-ACA4-94C9-DA18B76C4B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9A2B99-37D7-E946-830B-7F7D4CF63B8D}" type="slidenum">
              <a:rPr lang="de-DE" smtClean="0"/>
              <a:pPr/>
              <a:t>12</a:t>
            </a:fld>
            <a:endParaRPr lang="de-DE" dirty="0"/>
          </a:p>
        </p:txBody>
      </p:sp>
      <p:pic>
        <p:nvPicPr>
          <p:cNvPr id="8" name="Picture 2" descr="logo">
            <a:extLst>
              <a:ext uri="{FF2B5EF4-FFF2-40B4-BE49-F238E27FC236}">
                <a16:creationId xmlns:a16="http://schemas.microsoft.com/office/drawing/2014/main" id="{53F7748B-E5DA-AA20-50B8-52FD1CE33B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23897" y="1041306"/>
            <a:ext cx="1577630" cy="576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7031B80-5248-B433-BE85-42DD2802FF3E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3897" y="1761385"/>
            <a:ext cx="1233357" cy="810365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9A7F924E-5D36-1CC2-1CBE-A894BE9F0167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7023898" y="2699987"/>
            <a:ext cx="1577630" cy="22214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66EE2DBF-0F96-7C8A-894D-833F7F40C2B7}"/>
              </a:ext>
            </a:extLst>
          </p:cNvPr>
          <p:cNvSpPr txBox="1"/>
          <p:nvPr/>
        </p:nvSpPr>
        <p:spPr>
          <a:xfrm>
            <a:off x="611188" y="1935548"/>
            <a:ext cx="7447588" cy="27930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7"/>
              </a:rPr>
              <a:t>https://opcfoundation.org/markets-collaboration/lads/</a:t>
            </a:r>
          </a:p>
          <a:p>
            <a:endParaRPr lang="en-US" dirty="0">
              <a:hlinkClick r:id="rId7"/>
            </a:endParaRPr>
          </a:p>
          <a:p>
            <a:r>
              <a:rPr lang="en-US" dirty="0">
                <a:hlinkClick r:id="rId7"/>
              </a:rPr>
              <a:t>https://www.spectaris.de/en/association/thespectarisindustries/networked-laboratory-equipment/</a:t>
            </a:r>
          </a:p>
          <a:p>
            <a:endParaRPr lang="en-US" dirty="0">
              <a:hlinkClick r:id="rId7"/>
            </a:endParaRPr>
          </a:p>
          <a:p>
            <a:r>
              <a:rPr lang="en-US" dirty="0">
                <a:hlinkClick r:id="rId7"/>
              </a:rPr>
              <a:t>https://www.linkedin.com/company/LADS-OPC-UA/</a:t>
            </a:r>
            <a:endParaRPr lang="en-US" dirty="0"/>
          </a:p>
          <a:p>
            <a:endParaRPr lang="en-US" dirty="0"/>
          </a:p>
          <a:p>
            <a:r>
              <a:rPr lang="en-US" dirty="0">
                <a:hlinkClick r:id="rId8"/>
              </a:rPr>
              <a:t>https://www.linkedin.com/Dr-Matthias-Arnold/</a:t>
            </a:r>
            <a:endParaRPr lang="en-US" dirty="0"/>
          </a:p>
          <a:p>
            <a:endParaRPr lang="en-US" dirty="0"/>
          </a:p>
          <a:p>
            <a:r>
              <a:rPr lang="en-US" dirty="0">
                <a:hlinkClick r:id="rId9"/>
              </a:rPr>
              <a:t>https://opcfoundation-events.com/2023/05/12/opc-day-international-2023/#arnold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lotrope Connect Keynote: </a:t>
            </a:r>
            <a:r>
              <a:rPr lang="en-US" dirty="0">
                <a:hlinkClick r:id="rId10"/>
              </a:rPr>
              <a:t>https://www.youtube.com/watch?v=l7jXcO0QH7Y</a:t>
            </a:r>
            <a:endParaRPr lang="en-US" dirty="0"/>
          </a:p>
          <a:p>
            <a:endParaRPr lang="en-US" dirty="0"/>
          </a:p>
          <a:p>
            <a:r>
              <a:rPr lang="en-US" dirty="0" err="1"/>
              <a:t>M.Arnold@AixEngineers.de</a:t>
            </a:r>
            <a:endParaRPr lang="en-US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5AC37215-AE2B-FC19-37A2-14075D69A58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376256" y="186265"/>
            <a:ext cx="2118088" cy="76898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61152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8017"/>
    </mc:Choice>
    <mc:Fallback xmlns="">
      <p:transition spd="slow" advTm="18017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2">
            <a:extLst>
              <a:ext uri="{FF2B5EF4-FFF2-40B4-BE49-F238E27FC236}">
                <a16:creationId xmlns:a16="http://schemas.microsoft.com/office/drawing/2014/main" id="{1AA0DAD1-4647-B242-8E3A-40B95E10FE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080" y="827457"/>
            <a:ext cx="8534920" cy="467316"/>
          </a:xfrm>
        </p:spPr>
        <p:txBody>
          <a:bodyPr/>
          <a:lstStyle/>
          <a:p>
            <a:r>
              <a:rPr lang="de-DE" sz="2400" dirty="0"/>
              <a:t>Bruker MPA III - FT-NIR Multi Purpose Analyzer</a:t>
            </a:r>
            <a:endParaRPr lang="en-US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37B32575-9FF5-5B66-65F7-B0DC0499A2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2775" y="2419003"/>
            <a:ext cx="3547412" cy="2364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Abgerundetes Rechteck 2">
            <a:extLst>
              <a:ext uri="{FF2B5EF4-FFF2-40B4-BE49-F238E27FC236}">
                <a16:creationId xmlns:a16="http://schemas.microsoft.com/office/drawing/2014/main" id="{D0FDF713-D13D-1F1F-AE49-0DE271652AB7}"/>
              </a:ext>
            </a:extLst>
          </p:cNvPr>
          <p:cNvSpPr/>
          <p:nvPr/>
        </p:nvSpPr>
        <p:spPr>
          <a:xfrm>
            <a:off x="2066065" y="1232756"/>
            <a:ext cx="4866749" cy="3829695"/>
          </a:xfrm>
          <a:prstGeom prst="roundRect">
            <a:avLst>
              <a:gd name="adj" fmla="val 7341"/>
            </a:avLst>
          </a:prstGeom>
          <a:noFill/>
          <a:ln w="19050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dirty="0">
                <a:solidFill>
                  <a:srgbClr val="0070C0"/>
                </a:solidFill>
              </a:rPr>
              <a:t>FT-NIR-Device</a:t>
            </a:r>
          </a:p>
        </p:txBody>
      </p:sp>
      <p:sp>
        <p:nvSpPr>
          <p:cNvPr id="4" name="Abgerundetes Rechteck 3">
            <a:extLst>
              <a:ext uri="{FF2B5EF4-FFF2-40B4-BE49-F238E27FC236}">
                <a16:creationId xmlns:a16="http://schemas.microsoft.com/office/drawing/2014/main" id="{E79BF5C8-77A9-3AC8-6ABE-551990748412}"/>
              </a:ext>
            </a:extLst>
          </p:cNvPr>
          <p:cNvSpPr/>
          <p:nvPr/>
        </p:nvSpPr>
        <p:spPr>
          <a:xfrm>
            <a:off x="3699152" y="1687601"/>
            <a:ext cx="2892837" cy="504057"/>
          </a:xfrm>
          <a:prstGeom prst="roundRect">
            <a:avLst>
              <a:gd name="adj" fmla="val 7341"/>
            </a:avLst>
          </a:prstGeom>
          <a:noFill/>
          <a:ln w="19050">
            <a:solidFill>
              <a:srgbClr val="7030A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Program Manager </a:t>
            </a:r>
          </a:p>
        </p:txBody>
      </p:sp>
      <p:sp>
        <p:nvSpPr>
          <p:cNvPr id="5" name="Abgerundetes Rechteck 4">
            <a:extLst>
              <a:ext uri="{FF2B5EF4-FFF2-40B4-BE49-F238E27FC236}">
                <a16:creationId xmlns:a16="http://schemas.microsoft.com/office/drawing/2014/main" id="{948FE0BD-6A1B-EA95-B1F8-DFD5B54B4710}"/>
              </a:ext>
            </a:extLst>
          </p:cNvPr>
          <p:cNvSpPr/>
          <p:nvPr/>
        </p:nvSpPr>
        <p:spPr>
          <a:xfrm>
            <a:off x="3683812" y="2241904"/>
            <a:ext cx="1977155" cy="970614"/>
          </a:xfrm>
          <a:prstGeom prst="roundRect">
            <a:avLst>
              <a:gd name="adj" fmla="val 7341"/>
            </a:avLst>
          </a:prstGeom>
          <a:noFill/>
          <a:ln w="19050">
            <a:solidFill>
              <a:srgbClr val="92D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dirty="0">
                <a:solidFill>
                  <a:schemeClr val="tx1"/>
                </a:solidFill>
              </a:rPr>
              <a:t>Carousel Controller</a:t>
            </a:r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" name="Abgerundetes Rechteck 5">
            <a:extLst>
              <a:ext uri="{FF2B5EF4-FFF2-40B4-BE49-F238E27FC236}">
                <a16:creationId xmlns:a16="http://schemas.microsoft.com/office/drawing/2014/main" id="{8FF20AA3-559C-AD4A-DC68-8749DE56F804}"/>
              </a:ext>
            </a:extLst>
          </p:cNvPr>
          <p:cNvSpPr/>
          <p:nvPr/>
        </p:nvSpPr>
        <p:spPr>
          <a:xfrm>
            <a:off x="2211186" y="1583291"/>
            <a:ext cx="4555374" cy="3346156"/>
          </a:xfrm>
          <a:prstGeom prst="roundRect">
            <a:avLst>
              <a:gd name="adj" fmla="val 7341"/>
            </a:avLst>
          </a:prstGeom>
          <a:noFill/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dirty="0">
                <a:solidFill>
                  <a:schemeClr val="tx1"/>
                </a:solidFill>
              </a:rPr>
              <a:t>FT-NIR-Uni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01138784"/>
      </p:ext>
    </p:extLst>
  </p:cSld>
  <p:clrMapOvr>
    <a:masterClrMapping/>
  </p:clrMapOvr>
  <p:transition advTm="72757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2E594C-AFF7-3CDF-FA3E-701637106A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2">
            <a:extLst>
              <a:ext uri="{FF2B5EF4-FFF2-40B4-BE49-F238E27FC236}">
                <a16:creationId xmlns:a16="http://schemas.microsoft.com/office/drawing/2014/main" id="{DAB57809-C073-407D-1A97-05DB5B0674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080" y="827457"/>
            <a:ext cx="8534920" cy="467316"/>
          </a:xfrm>
        </p:spPr>
        <p:txBody>
          <a:bodyPr/>
          <a:lstStyle/>
          <a:p>
            <a:r>
              <a:rPr lang="en-US" sz="2400" noProof="0" dirty="0"/>
              <a:t>Bruker MPA III – Carousel Controller</a:t>
            </a:r>
            <a:endParaRPr lang="en-US" noProof="0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8BF1C49C-B433-D5F1-3158-2AFDDA61FA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961" y="1853738"/>
            <a:ext cx="3547412" cy="2364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Abgerundetes Rechteck 4">
            <a:extLst>
              <a:ext uri="{FF2B5EF4-FFF2-40B4-BE49-F238E27FC236}">
                <a16:creationId xmlns:a16="http://schemas.microsoft.com/office/drawing/2014/main" id="{DEDC0936-4EA2-8B20-4577-120294212CCD}"/>
              </a:ext>
            </a:extLst>
          </p:cNvPr>
          <p:cNvSpPr/>
          <p:nvPr/>
        </p:nvSpPr>
        <p:spPr>
          <a:xfrm>
            <a:off x="1116874" y="1294773"/>
            <a:ext cx="2227217" cy="1352480"/>
          </a:xfrm>
          <a:prstGeom prst="roundRect">
            <a:avLst>
              <a:gd name="adj" fmla="val 7341"/>
            </a:avLst>
          </a:prstGeom>
          <a:noFill/>
          <a:ln w="19050">
            <a:solidFill>
              <a:srgbClr val="92D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arousel Controller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800" dirty="0" err="1">
                <a:solidFill>
                  <a:schemeClr val="tx1"/>
                </a:solidFill>
              </a:rPr>
              <a:t>MultiStateDiscreteControlFunctionType</a:t>
            </a:r>
            <a:endParaRPr lang="en-US" sz="8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C4B1BAF-7E49-E99B-30B0-645CD4418DB5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6067" b="3947"/>
          <a:stretch/>
        </p:blipFill>
        <p:spPr>
          <a:xfrm>
            <a:off x="3842401" y="1294773"/>
            <a:ext cx="2227217" cy="139523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9788D118-A6BF-E326-9186-74BD517DF77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38086" y="2202872"/>
            <a:ext cx="2998096" cy="281071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91252556"/>
      </p:ext>
    </p:extLst>
  </p:cSld>
  <p:clrMapOvr>
    <a:masterClrMapping/>
  </p:clrMapOvr>
  <p:transition advTm="72757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8F03DC-982E-F3BB-C384-AF62DC91D5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2">
            <a:extLst>
              <a:ext uri="{FF2B5EF4-FFF2-40B4-BE49-F238E27FC236}">
                <a16:creationId xmlns:a16="http://schemas.microsoft.com/office/drawing/2014/main" id="{5564E8F8-F0B0-7B36-01DC-95BD5B9ED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080" y="827457"/>
            <a:ext cx="8534920" cy="467316"/>
          </a:xfrm>
        </p:spPr>
        <p:txBody>
          <a:bodyPr/>
          <a:lstStyle/>
          <a:p>
            <a:r>
              <a:rPr lang="en-US" sz="2400" noProof="0"/>
              <a:t>Carousel Controller - Initialization</a:t>
            </a:r>
            <a:endParaRPr lang="en-US" noProof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C9AF764-3E08-A5DD-DBD2-0DC1DDF2E467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6067" b="3947"/>
          <a:stretch/>
        </p:blipFill>
        <p:spPr>
          <a:xfrm>
            <a:off x="6813405" y="469317"/>
            <a:ext cx="1917989" cy="120151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F3C3D1C3-C828-7B1E-3CC7-B38ED474A52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850" y="2763177"/>
            <a:ext cx="7163320" cy="1246781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9023FE87-7A00-311F-E7AD-6792F18CFA1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4850" y="1670835"/>
            <a:ext cx="4640580" cy="71628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65115355"/>
      </p:ext>
    </p:extLst>
  </p:cSld>
  <p:clrMapOvr>
    <a:masterClrMapping/>
  </p:clrMapOvr>
  <p:transition advTm="72757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86BEB2-6964-2F1E-30C2-9B6F3A4A38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2">
            <a:extLst>
              <a:ext uri="{FF2B5EF4-FFF2-40B4-BE49-F238E27FC236}">
                <a16:creationId xmlns:a16="http://schemas.microsoft.com/office/drawing/2014/main" id="{24C1441D-3AC2-1920-94E6-45AFEC44D5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080" y="827457"/>
            <a:ext cx="8534920" cy="467316"/>
          </a:xfrm>
        </p:spPr>
        <p:txBody>
          <a:bodyPr/>
          <a:lstStyle/>
          <a:p>
            <a:r>
              <a:rPr lang="en-US" sz="2400" noProof="0"/>
              <a:t>Carousel Controller - Execution</a:t>
            </a:r>
            <a:endParaRPr lang="en-US" noProof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7CE5D9FE-086B-611E-7CD8-37FEBAD8118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6067" b="3947"/>
          <a:stretch/>
        </p:blipFill>
        <p:spPr>
          <a:xfrm>
            <a:off x="6843279" y="460356"/>
            <a:ext cx="1917989" cy="120151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EBA4DFE-5931-B055-F68E-75B0737711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5800" y="1226602"/>
            <a:ext cx="5981007" cy="384061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60977462"/>
      </p:ext>
    </p:extLst>
  </p:cSld>
  <p:clrMapOvr>
    <a:masterClrMapping/>
  </p:clrMapOvr>
  <p:transition advTm="72757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33B5A4-B6B4-632A-C550-4BE1A8A91A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2">
            <a:extLst>
              <a:ext uri="{FF2B5EF4-FFF2-40B4-BE49-F238E27FC236}">
                <a16:creationId xmlns:a16="http://schemas.microsoft.com/office/drawing/2014/main" id="{3F214AAB-223F-0645-B45C-756862DD12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080" y="827457"/>
            <a:ext cx="8534920" cy="467316"/>
          </a:xfrm>
        </p:spPr>
        <p:txBody>
          <a:bodyPr/>
          <a:lstStyle/>
          <a:p>
            <a:r>
              <a:rPr lang="en-US" sz="2400" noProof="0"/>
              <a:t>Carousel Controller - Execution</a:t>
            </a:r>
            <a:endParaRPr lang="en-US" noProof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A4BE3AE9-59CC-E0BE-E33A-42ECA577D0E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080" y="1192662"/>
            <a:ext cx="5715000" cy="16021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17E4CE67-5816-54D0-F7BE-71B11005F82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39756" y="2649037"/>
            <a:ext cx="4707313" cy="13018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80A15B12-D2DC-6A29-E372-67A179B63E5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66580" y="3950838"/>
            <a:ext cx="5349240" cy="102588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1565490"/>
      </p:ext>
    </p:extLst>
  </p:cSld>
  <p:clrMapOvr>
    <a:masterClrMapping/>
  </p:clrMapOvr>
  <p:transition advTm="72757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6309F7-6416-F38C-1661-E18D5446B3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2">
            <a:extLst>
              <a:ext uri="{FF2B5EF4-FFF2-40B4-BE49-F238E27FC236}">
                <a16:creationId xmlns:a16="http://schemas.microsoft.com/office/drawing/2014/main" id="{13E9545F-7E7D-B55F-C90A-EA4B91FD78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080" y="827457"/>
            <a:ext cx="8534920" cy="467316"/>
          </a:xfrm>
        </p:spPr>
        <p:txBody>
          <a:bodyPr/>
          <a:lstStyle/>
          <a:p>
            <a:r>
              <a:rPr lang="en-US" sz="2400" noProof="0" dirty="0"/>
              <a:t>Program Manager</a:t>
            </a:r>
            <a:endParaRPr lang="en-US" noProof="0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670E801-39DE-2413-235E-F8E2B55831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65568" y="1701568"/>
            <a:ext cx="2984666" cy="26144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AA2344CB-259F-A31A-10E7-5806E14AA33C}"/>
              </a:ext>
            </a:extLst>
          </p:cNvPr>
          <p:cNvGrpSpPr/>
          <p:nvPr/>
        </p:nvGrpSpPr>
        <p:grpSpPr>
          <a:xfrm>
            <a:off x="423949" y="1444610"/>
            <a:ext cx="3931920" cy="3077525"/>
            <a:chOff x="423949" y="1643296"/>
            <a:chExt cx="4555374" cy="3346156"/>
          </a:xfrm>
        </p:grpSpPr>
        <p:pic>
          <p:nvPicPr>
            <p:cNvPr id="6" name="Picture 2">
              <a:extLst>
                <a:ext uri="{FF2B5EF4-FFF2-40B4-BE49-F238E27FC236}">
                  <a16:creationId xmlns:a16="http://schemas.microsoft.com/office/drawing/2014/main" id="{96DCD7B2-3233-3F8D-7988-8A45C5057E4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5538" y="2479008"/>
              <a:ext cx="3547412" cy="23649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Abgerundetes Rechteck 8">
              <a:extLst>
                <a:ext uri="{FF2B5EF4-FFF2-40B4-BE49-F238E27FC236}">
                  <a16:creationId xmlns:a16="http://schemas.microsoft.com/office/drawing/2014/main" id="{B84B5CAF-A567-9884-B1D8-2EB2E47EE3E7}"/>
                </a:ext>
              </a:extLst>
            </p:cNvPr>
            <p:cNvSpPr/>
            <p:nvPr/>
          </p:nvSpPr>
          <p:spPr>
            <a:xfrm>
              <a:off x="1911915" y="1747606"/>
              <a:ext cx="2892837" cy="504057"/>
            </a:xfrm>
            <a:prstGeom prst="roundRect">
              <a:avLst>
                <a:gd name="adj" fmla="val 7341"/>
              </a:avLst>
            </a:prstGeom>
            <a:noFill/>
            <a:ln w="19050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>
                  <a:solidFill>
                    <a:schemeClr val="tx1"/>
                  </a:solidFill>
                </a:rPr>
                <a:t>Program Manager </a:t>
              </a:r>
            </a:p>
          </p:txBody>
        </p:sp>
        <p:sp>
          <p:nvSpPr>
            <p:cNvPr id="11" name="Abgerundetes Rechteck 10">
              <a:extLst>
                <a:ext uri="{FF2B5EF4-FFF2-40B4-BE49-F238E27FC236}">
                  <a16:creationId xmlns:a16="http://schemas.microsoft.com/office/drawing/2014/main" id="{E2D91071-B764-5A3B-69EC-CDAD8516046E}"/>
                </a:ext>
              </a:extLst>
            </p:cNvPr>
            <p:cNvSpPr/>
            <p:nvPr/>
          </p:nvSpPr>
          <p:spPr>
            <a:xfrm>
              <a:off x="423949" y="1643296"/>
              <a:ext cx="4555374" cy="3346156"/>
            </a:xfrm>
            <a:prstGeom prst="roundRect">
              <a:avLst>
                <a:gd name="adj" fmla="val 7341"/>
              </a:avLst>
            </a:prstGeom>
            <a:noFill/>
            <a:ln w="19050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1400" dirty="0">
                  <a:solidFill>
                    <a:schemeClr val="tx1"/>
                  </a:solidFill>
                </a:rPr>
                <a:t>FT-NIR-Unit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217072233"/>
      </p:ext>
    </p:extLst>
  </p:cSld>
  <p:clrMapOvr>
    <a:masterClrMapping/>
  </p:clrMapOvr>
  <p:transition advTm="72757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86436D-C7FA-68CA-98AE-6A60DDE203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2">
            <a:extLst>
              <a:ext uri="{FF2B5EF4-FFF2-40B4-BE49-F238E27FC236}">
                <a16:creationId xmlns:a16="http://schemas.microsoft.com/office/drawing/2014/main" id="{3B640459-0C85-5500-9F57-B3B57BCFC2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080" y="827457"/>
            <a:ext cx="8534920" cy="467316"/>
          </a:xfrm>
        </p:spPr>
        <p:txBody>
          <a:bodyPr/>
          <a:lstStyle/>
          <a:p>
            <a:r>
              <a:rPr lang="en-US" sz="2400" noProof="0" dirty="0"/>
              <a:t>Program Manager - Initialization</a:t>
            </a:r>
            <a:endParaRPr lang="en-US" noProof="0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AD77022-3446-8F32-EB0B-EAD476DB6E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87291" y="157942"/>
            <a:ext cx="2421870" cy="212148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FE741298-E7A4-8439-EF47-9BB0DFB10A1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080" y="1183819"/>
            <a:ext cx="4593237" cy="1678159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B797C286-8EE1-5F94-F61D-D7D61DFB623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080" y="2948940"/>
            <a:ext cx="6396644" cy="219272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61135258"/>
      </p:ext>
    </p:extLst>
  </p:cSld>
  <p:clrMapOvr>
    <a:masterClrMapping/>
  </p:clrMapOvr>
  <p:transition advTm="72757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E8C163-F99A-8CA2-9689-59141E32A3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2">
            <a:extLst>
              <a:ext uri="{FF2B5EF4-FFF2-40B4-BE49-F238E27FC236}">
                <a16:creationId xmlns:a16="http://schemas.microsoft.com/office/drawing/2014/main" id="{240D4765-D958-D88F-757B-AADB7BFF41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080" y="827457"/>
            <a:ext cx="8534920" cy="467316"/>
          </a:xfrm>
        </p:spPr>
        <p:txBody>
          <a:bodyPr/>
          <a:lstStyle/>
          <a:p>
            <a:r>
              <a:rPr lang="en-US" sz="2400" noProof="0" dirty="0"/>
              <a:t>Program Manager – Starting Execution</a:t>
            </a:r>
            <a:endParaRPr lang="en-US" noProof="0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2F90787-851F-A0F2-71A6-B0C6E2A652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67444" y="1294773"/>
            <a:ext cx="6180513" cy="37335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46995040"/>
      </p:ext>
    </p:extLst>
  </p:cSld>
  <p:clrMapOvr>
    <a:masterClrMapping/>
  </p:clrMapOvr>
  <p:transition advTm="72757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4.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4.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4.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4.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4.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4.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4.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4.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4.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4.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4.7"/>
</p:tagLst>
</file>

<file path=ppt/theme/theme1.xml><?xml version="1.0" encoding="utf-8"?>
<a:theme xmlns:a="http://schemas.openxmlformats.org/drawingml/2006/main" name="Office">
  <a:themeElements>
    <a:clrScheme name="Benutzerdefiniert 1">
      <a:dk1>
        <a:srgbClr val="005BA2"/>
      </a:dk1>
      <a:lt1>
        <a:srgbClr val="FFFFFF"/>
      </a:lt1>
      <a:dk2>
        <a:srgbClr val="A2CFE7"/>
      </a:dk2>
      <a:lt2>
        <a:srgbClr val="FEFFFF"/>
      </a:lt2>
      <a:accent1>
        <a:srgbClr val="009EE3"/>
      </a:accent1>
      <a:accent2>
        <a:srgbClr val="A1D9F8"/>
      </a:accent2>
      <a:accent3>
        <a:srgbClr val="656564"/>
      </a:accent3>
      <a:accent4>
        <a:srgbClr val="F3BC00"/>
      </a:accent4>
      <a:accent5>
        <a:srgbClr val="02615E"/>
      </a:accent5>
      <a:accent6>
        <a:srgbClr val="55A393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6" id="{55AEA2C6-53A7-4836-8D39-653C9C4B0FFA}" vid="{80396397-AF10-41BB-8D3A-E38467F523B5}"/>
    </a:ext>
  </a:extLst>
</a:theme>
</file>

<file path=ppt/theme/theme2.xml><?xml version="1.0" encoding="utf-8"?>
<a:theme xmlns:a="http://schemas.openxmlformats.org/drawingml/2006/main" name="Blanko Foli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6" id="{55AEA2C6-53A7-4836-8D39-653C9C4B0FFA}" vid="{7681D821-D9CF-4195-8835-629BBC938E42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BA7D8A576F582438FF3F6F99DBDE8ED" ma:contentTypeVersion="17" ma:contentTypeDescription="Create a new document." ma:contentTypeScope="" ma:versionID="272d5193e40caee8f4d271e3b51f7818">
  <xsd:schema xmlns:xsd="http://www.w3.org/2001/XMLSchema" xmlns:xs="http://www.w3.org/2001/XMLSchema" xmlns:p="http://schemas.microsoft.com/office/2006/metadata/properties" xmlns:ns2="d2742325-f3b3-48f5-aed2-65513deae5a9" xmlns:ns3="e9a324d7-a1f3-4a6d-a37f-05a5f1fada53" targetNamespace="http://schemas.microsoft.com/office/2006/metadata/properties" ma:root="true" ma:fieldsID="cfca0a9e0bcea6b7aa33e96ac53a3f7f" ns2:_="" ns3:_="">
    <xsd:import namespace="d2742325-f3b3-48f5-aed2-65513deae5a9"/>
    <xsd:import namespace="e9a324d7-a1f3-4a6d-a37f-05a5f1fada5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2742325-f3b3-48f5-aed2-65513deae5a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0b75c5f6-c624-48f5-9c4c-201ef0d9a56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a324d7-a1f3-4a6d-a37f-05a5f1fada53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f18a0bae-87f7-4b09-b991-8631119b0a85}" ma:internalName="TaxCatchAll" ma:showField="CatchAllData" ma:web="e9a324d7-a1f3-4a6d-a37f-05a5f1fada5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2742325-f3b3-48f5-aed2-65513deae5a9">
      <Terms xmlns="http://schemas.microsoft.com/office/infopath/2007/PartnerControls"/>
    </lcf76f155ced4ddcb4097134ff3c332f>
    <TaxCatchAll xmlns="e9a324d7-a1f3-4a6d-a37f-05a5f1fada5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B53254F-11E1-4C38-AE61-F793E6C441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2742325-f3b3-48f5-aed2-65513deae5a9"/>
    <ds:schemaRef ds:uri="e9a324d7-a1f3-4a6d-a37f-05a5f1fada5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35ECB36-1EC8-4B28-95A0-BDC2BF7E541E}">
  <ds:schemaRefs>
    <ds:schemaRef ds:uri="http://schemas.microsoft.com/office/2006/metadata/properties"/>
    <ds:schemaRef ds:uri="http://schemas.microsoft.com/office/infopath/2007/PartnerControls"/>
    <ds:schemaRef ds:uri="d2742325-f3b3-48f5-aed2-65513deae5a9"/>
    <ds:schemaRef ds:uri="e9a324d7-a1f3-4a6d-a37f-05a5f1fada53"/>
  </ds:schemaRefs>
</ds:datastoreItem>
</file>

<file path=customXml/itemProps3.xml><?xml version="1.0" encoding="utf-8"?>
<ds:datastoreItem xmlns:ds="http://schemas.openxmlformats.org/officeDocument/2006/customXml" ds:itemID="{DCCD95B8-6D83-49D2-A02B-1CA7FFFAB40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10826 PPT_template_ABL_16-9_engl</Template>
  <TotalTime>0</TotalTime>
  <Words>213</Words>
  <Application>Microsoft Macintosh PowerPoint</Application>
  <PresentationFormat>Bildschirmpräsentation (16:9)</PresentationFormat>
  <Paragraphs>50</Paragraphs>
  <Slides>12</Slides>
  <Notes>1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21" baseType="lpstr">
      <vt:lpstr>Arial</vt:lpstr>
      <vt:lpstr>Arial Narrow</vt:lpstr>
      <vt:lpstr>Arial Narrow Regular</vt:lpstr>
      <vt:lpstr>Calibri</vt:lpstr>
      <vt:lpstr>Lucida Sans</vt:lpstr>
      <vt:lpstr>Wingdings</vt:lpstr>
      <vt:lpstr>Office</vt:lpstr>
      <vt:lpstr>Blanko Folie</vt:lpstr>
      <vt:lpstr>think-cell Slide</vt:lpstr>
      <vt:lpstr>LADS Information Model Bruker MPA III - FT-NIR Multi Purpose Analyzer</vt:lpstr>
      <vt:lpstr>Bruker MPA III - FT-NIR Multi Purpose Analyzer</vt:lpstr>
      <vt:lpstr>Bruker MPA III – Carousel Controller</vt:lpstr>
      <vt:lpstr>Carousel Controller - Initialization</vt:lpstr>
      <vt:lpstr>Carousel Controller - Execution</vt:lpstr>
      <vt:lpstr>Carousel Controller - Execution</vt:lpstr>
      <vt:lpstr>Program Manager</vt:lpstr>
      <vt:lpstr>Program Manager - Initialization</vt:lpstr>
      <vt:lpstr>Program Manager – Starting Execution</vt:lpstr>
      <vt:lpstr>Program Manager - Executing</vt:lpstr>
      <vt:lpstr>Program Manager - Results</vt:lpstr>
      <vt:lpstr> 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Veranstaltung</dc:title>
  <dc:creator>Janina Bolling [SPECTARIS]</dc:creator>
  <cp:lastModifiedBy>Matthias Arnold</cp:lastModifiedBy>
  <cp:revision>127</cp:revision>
  <cp:lastPrinted>2023-09-19T16:45:44Z</cp:lastPrinted>
  <dcterms:created xsi:type="dcterms:W3CDTF">2023-02-23T16:08:27Z</dcterms:created>
  <dcterms:modified xsi:type="dcterms:W3CDTF">2024-11-22T09:24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BA7D8A576F582438FF3F6F99DBDE8ED</vt:lpwstr>
  </property>
  <property fmtid="{D5CDD505-2E9C-101B-9397-08002B2CF9AE}" pid="3" name="MediaServiceImageTags">
    <vt:lpwstr/>
  </property>
</Properties>
</file>